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diagrams/data24.xml" ContentType="application/vnd.openxmlformats-officedocument.drawingml.diagramData+xml"/>
  <Override PartName="/ppt/diagrams/layout24.xml" ContentType="application/vnd.openxmlformats-officedocument.drawingml.diagramLayout+xml"/>
  <Override PartName="/ppt/diagrams/quickStyle24.xml" ContentType="application/vnd.openxmlformats-officedocument.drawingml.diagramStyle+xml"/>
  <Override PartName="/ppt/diagrams/colors24.xml" ContentType="application/vnd.openxmlformats-officedocument.drawingml.diagramColors+xml"/>
  <Override PartName="/ppt/diagrams/drawing24.xml" ContentType="application/vnd.ms-office.drawingml.diagramDrawing+xml"/>
  <Override PartName="/ppt/diagrams/data25.xml" ContentType="application/vnd.openxmlformats-officedocument.drawingml.diagramData+xml"/>
  <Override PartName="/ppt/diagrams/layout25.xml" ContentType="application/vnd.openxmlformats-officedocument.drawingml.diagramLayout+xml"/>
  <Override PartName="/ppt/diagrams/quickStyle25.xml" ContentType="application/vnd.openxmlformats-officedocument.drawingml.diagramStyle+xml"/>
  <Override PartName="/ppt/diagrams/colors25.xml" ContentType="application/vnd.openxmlformats-officedocument.drawingml.diagramColors+xml"/>
  <Override PartName="/ppt/diagrams/drawing25.xml" ContentType="application/vnd.ms-office.drawingml.diagramDrawing+xml"/>
  <Override PartName="/ppt/diagrams/data26.xml" ContentType="application/vnd.openxmlformats-officedocument.drawingml.diagramData+xml"/>
  <Override PartName="/ppt/diagrams/layout26.xml" ContentType="application/vnd.openxmlformats-officedocument.drawingml.diagramLayout+xml"/>
  <Override PartName="/ppt/diagrams/quickStyle26.xml" ContentType="application/vnd.openxmlformats-officedocument.drawingml.diagramStyle+xml"/>
  <Override PartName="/ppt/diagrams/colors26.xml" ContentType="application/vnd.openxmlformats-officedocument.drawingml.diagramColors+xml"/>
  <Override PartName="/ppt/diagrams/drawing26.xml" ContentType="application/vnd.ms-office.drawingml.diagramDrawing+xml"/>
  <Override PartName="/ppt/diagrams/data27.xml" ContentType="application/vnd.openxmlformats-officedocument.drawingml.diagramData+xml"/>
  <Override PartName="/ppt/diagrams/layout27.xml" ContentType="application/vnd.openxmlformats-officedocument.drawingml.diagramLayout+xml"/>
  <Override PartName="/ppt/diagrams/quickStyle27.xml" ContentType="application/vnd.openxmlformats-officedocument.drawingml.diagramStyle+xml"/>
  <Override PartName="/ppt/diagrams/colors27.xml" ContentType="application/vnd.openxmlformats-officedocument.drawingml.diagramColors+xml"/>
  <Override PartName="/ppt/diagrams/drawing27.xml" ContentType="application/vnd.ms-office.drawingml.diagramDrawing+xml"/>
  <Override PartName="/ppt/diagrams/data28.xml" ContentType="application/vnd.openxmlformats-officedocument.drawingml.diagramData+xml"/>
  <Override PartName="/ppt/diagrams/layout28.xml" ContentType="application/vnd.openxmlformats-officedocument.drawingml.diagramLayout+xml"/>
  <Override PartName="/ppt/diagrams/quickStyle28.xml" ContentType="application/vnd.openxmlformats-officedocument.drawingml.diagramStyle+xml"/>
  <Override PartName="/ppt/diagrams/colors28.xml" ContentType="application/vnd.openxmlformats-officedocument.drawingml.diagramColors+xml"/>
  <Override PartName="/ppt/diagrams/drawing28.xml" ContentType="application/vnd.ms-office.drawingml.diagramDrawing+xml"/>
  <Override PartName="/ppt/diagrams/data29.xml" ContentType="application/vnd.openxmlformats-officedocument.drawingml.diagramData+xml"/>
  <Override PartName="/ppt/diagrams/layout29.xml" ContentType="application/vnd.openxmlformats-officedocument.drawingml.diagramLayout+xml"/>
  <Override PartName="/ppt/diagrams/quickStyle29.xml" ContentType="application/vnd.openxmlformats-officedocument.drawingml.diagramStyle+xml"/>
  <Override PartName="/ppt/diagrams/colors29.xml" ContentType="application/vnd.openxmlformats-officedocument.drawingml.diagramColors+xml"/>
  <Override PartName="/ppt/diagrams/drawing29.xml" ContentType="application/vnd.ms-office.drawingml.diagramDrawing+xml"/>
  <Override PartName="/ppt/diagrams/data30.xml" ContentType="application/vnd.openxmlformats-officedocument.drawingml.diagramData+xml"/>
  <Override PartName="/ppt/diagrams/layout30.xml" ContentType="application/vnd.openxmlformats-officedocument.drawingml.diagramLayout+xml"/>
  <Override PartName="/ppt/diagrams/quickStyle30.xml" ContentType="application/vnd.openxmlformats-officedocument.drawingml.diagramStyle+xml"/>
  <Override PartName="/ppt/diagrams/colors30.xml" ContentType="application/vnd.openxmlformats-officedocument.drawingml.diagramColors+xml"/>
  <Override PartName="/ppt/diagrams/drawing30.xml" ContentType="application/vnd.ms-office.drawingml.diagramDrawing+xml"/>
  <Override PartName="/ppt/diagrams/data31.xml" ContentType="application/vnd.openxmlformats-officedocument.drawingml.diagramData+xml"/>
  <Override PartName="/ppt/diagrams/layout31.xml" ContentType="application/vnd.openxmlformats-officedocument.drawingml.diagramLayout+xml"/>
  <Override PartName="/ppt/diagrams/quickStyle31.xml" ContentType="application/vnd.openxmlformats-officedocument.drawingml.diagramStyle+xml"/>
  <Override PartName="/ppt/diagrams/colors31.xml" ContentType="application/vnd.openxmlformats-officedocument.drawingml.diagramColors+xml"/>
  <Override PartName="/ppt/diagrams/drawing31.xml" ContentType="application/vnd.ms-office.drawingml.diagramDrawing+xml"/>
  <Override PartName="/ppt/diagrams/data32.xml" ContentType="application/vnd.openxmlformats-officedocument.drawingml.diagramData+xml"/>
  <Override PartName="/ppt/diagrams/layout32.xml" ContentType="application/vnd.openxmlformats-officedocument.drawingml.diagramLayout+xml"/>
  <Override PartName="/ppt/diagrams/quickStyle32.xml" ContentType="application/vnd.openxmlformats-officedocument.drawingml.diagramStyle+xml"/>
  <Override PartName="/ppt/diagrams/colors32.xml" ContentType="application/vnd.openxmlformats-officedocument.drawingml.diagramColors+xml"/>
  <Override PartName="/ppt/diagrams/drawing32.xml" ContentType="application/vnd.ms-office.drawingml.diagramDrawing+xml"/>
  <Override PartName="/ppt/diagrams/data33.xml" ContentType="application/vnd.openxmlformats-officedocument.drawingml.diagramData+xml"/>
  <Override PartName="/ppt/diagrams/layout33.xml" ContentType="application/vnd.openxmlformats-officedocument.drawingml.diagramLayout+xml"/>
  <Override PartName="/ppt/diagrams/quickStyle33.xml" ContentType="application/vnd.openxmlformats-officedocument.drawingml.diagramStyle+xml"/>
  <Override PartName="/ppt/diagrams/colors33.xml" ContentType="application/vnd.openxmlformats-officedocument.drawingml.diagramColors+xml"/>
  <Override PartName="/ppt/diagrams/drawing33.xml" ContentType="application/vnd.ms-office.drawingml.diagramDrawing+xml"/>
  <Override PartName="/ppt/diagrams/data34.xml" ContentType="application/vnd.openxmlformats-officedocument.drawingml.diagramData+xml"/>
  <Override PartName="/ppt/diagrams/layout34.xml" ContentType="application/vnd.openxmlformats-officedocument.drawingml.diagramLayout+xml"/>
  <Override PartName="/ppt/diagrams/quickStyle34.xml" ContentType="application/vnd.openxmlformats-officedocument.drawingml.diagramStyle+xml"/>
  <Override PartName="/ppt/diagrams/colors34.xml" ContentType="application/vnd.openxmlformats-officedocument.drawingml.diagramColors+xml"/>
  <Override PartName="/ppt/diagrams/drawing34.xml" ContentType="application/vnd.ms-office.drawingml.diagramDrawing+xml"/>
  <Override PartName="/ppt/diagrams/data35.xml" ContentType="application/vnd.openxmlformats-officedocument.drawingml.diagramData+xml"/>
  <Override PartName="/ppt/diagrams/layout35.xml" ContentType="application/vnd.openxmlformats-officedocument.drawingml.diagramLayout+xml"/>
  <Override PartName="/ppt/diagrams/quickStyle35.xml" ContentType="application/vnd.openxmlformats-officedocument.drawingml.diagramStyle+xml"/>
  <Override PartName="/ppt/diagrams/colors35.xml" ContentType="application/vnd.openxmlformats-officedocument.drawingml.diagramColors+xml"/>
  <Override PartName="/ppt/diagrams/drawing35.xml" ContentType="application/vnd.ms-office.drawingml.diagramDrawing+xml"/>
  <Override PartName="/ppt/diagrams/data36.xml" ContentType="application/vnd.openxmlformats-officedocument.drawingml.diagramData+xml"/>
  <Override PartName="/ppt/diagrams/layout36.xml" ContentType="application/vnd.openxmlformats-officedocument.drawingml.diagramLayout+xml"/>
  <Override PartName="/ppt/diagrams/quickStyle36.xml" ContentType="application/vnd.openxmlformats-officedocument.drawingml.diagramStyle+xml"/>
  <Override PartName="/ppt/diagrams/colors36.xml" ContentType="application/vnd.openxmlformats-officedocument.drawingml.diagramColors+xml"/>
  <Override PartName="/ppt/diagrams/drawing36.xml" ContentType="application/vnd.ms-office.drawingml.diagramDrawing+xml"/>
  <Override PartName="/ppt/diagrams/data37.xml" ContentType="application/vnd.openxmlformats-officedocument.drawingml.diagramData+xml"/>
  <Override PartName="/ppt/diagrams/layout37.xml" ContentType="application/vnd.openxmlformats-officedocument.drawingml.diagramLayout+xml"/>
  <Override PartName="/ppt/diagrams/quickStyle37.xml" ContentType="application/vnd.openxmlformats-officedocument.drawingml.diagramStyle+xml"/>
  <Override PartName="/ppt/diagrams/colors37.xml" ContentType="application/vnd.openxmlformats-officedocument.drawingml.diagramColors+xml"/>
  <Override PartName="/ppt/diagrams/drawing37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diagrams/data38.xml" ContentType="application/vnd.openxmlformats-officedocument.drawingml.diagramData+xml"/>
  <Override PartName="/ppt/diagrams/layout38.xml" ContentType="application/vnd.openxmlformats-officedocument.drawingml.diagramLayout+xml"/>
  <Override PartName="/ppt/diagrams/quickStyle38.xml" ContentType="application/vnd.openxmlformats-officedocument.drawingml.diagramStyle+xml"/>
  <Override PartName="/ppt/diagrams/colors38.xml" ContentType="application/vnd.openxmlformats-officedocument.drawingml.diagramColors+xml"/>
  <Override PartName="/ppt/diagrams/drawing38.xml" ContentType="application/vnd.ms-office.drawingml.diagramDrawing+xml"/>
  <Override PartName="/ppt/diagrams/data39.xml" ContentType="application/vnd.openxmlformats-officedocument.drawingml.diagramData+xml"/>
  <Override PartName="/ppt/diagrams/layout39.xml" ContentType="application/vnd.openxmlformats-officedocument.drawingml.diagramLayout+xml"/>
  <Override PartName="/ppt/diagrams/quickStyle39.xml" ContentType="application/vnd.openxmlformats-officedocument.drawingml.diagramStyle+xml"/>
  <Override PartName="/ppt/diagrams/colors39.xml" ContentType="application/vnd.openxmlformats-officedocument.drawingml.diagramColors+xml"/>
  <Override PartName="/ppt/diagrams/drawing39.xml" ContentType="application/vnd.ms-office.drawingml.diagramDrawing+xml"/>
  <Override PartName="/ppt/diagrams/data40.xml" ContentType="application/vnd.openxmlformats-officedocument.drawingml.diagramData+xml"/>
  <Override PartName="/ppt/diagrams/layout40.xml" ContentType="application/vnd.openxmlformats-officedocument.drawingml.diagramLayout+xml"/>
  <Override PartName="/ppt/diagrams/quickStyle40.xml" ContentType="application/vnd.openxmlformats-officedocument.drawingml.diagramStyle+xml"/>
  <Override PartName="/ppt/diagrams/colors40.xml" ContentType="application/vnd.openxmlformats-officedocument.drawingml.diagramColors+xml"/>
  <Override PartName="/ppt/diagrams/drawing40.xml" ContentType="application/vnd.ms-office.drawingml.diagramDrawing+xml"/>
  <Override PartName="/ppt/diagrams/data41.xml" ContentType="application/vnd.openxmlformats-officedocument.drawingml.diagramData+xml"/>
  <Override PartName="/ppt/diagrams/layout41.xml" ContentType="application/vnd.openxmlformats-officedocument.drawingml.diagramLayout+xml"/>
  <Override PartName="/ppt/diagrams/quickStyle41.xml" ContentType="application/vnd.openxmlformats-officedocument.drawingml.diagramStyle+xml"/>
  <Override PartName="/ppt/diagrams/colors41.xml" ContentType="application/vnd.openxmlformats-officedocument.drawingml.diagramColors+xml"/>
  <Override PartName="/ppt/diagrams/drawing41.xml" ContentType="application/vnd.ms-office.drawingml.diagramDrawing+xml"/>
  <Override PartName="/ppt/diagrams/data42.xml" ContentType="application/vnd.openxmlformats-officedocument.drawingml.diagramData+xml"/>
  <Override PartName="/ppt/diagrams/layout42.xml" ContentType="application/vnd.openxmlformats-officedocument.drawingml.diagramLayout+xml"/>
  <Override PartName="/ppt/diagrams/quickStyle42.xml" ContentType="application/vnd.openxmlformats-officedocument.drawingml.diagramStyle+xml"/>
  <Override PartName="/ppt/diagrams/colors42.xml" ContentType="application/vnd.openxmlformats-officedocument.drawingml.diagramColors+xml"/>
  <Override PartName="/ppt/diagrams/drawing42.xml" ContentType="application/vnd.ms-office.drawingml.diagramDrawing+xml"/>
  <Override PartName="/ppt/diagrams/data43.xml" ContentType="application/vnd.openxmlformats-officedocument.drawingml.diagramData+xml"/>
  <Override PartName="/ppt/diagrams/layout43.xml" ContentType="application/vnd.openxmlformats-officedocument.drawingml.diagramLayout+xml"/>
  <Override PartName="/ppt/diagrams/quickStyle43.xml" ContentType="application/vnd.openxmlformats-officedocument.drawingml.diagramStyle+xml"/>
  <Override PartName="/ppt/diagrams/colors43.xml" ContentType="application/vnd.openxmlformats-officedocument.drawingml.diagramColors+xml"/>
  <Override PartName="/ppt/diagrams/drawing43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44.xml" ContentType="application/vnd.openxmlformats-officedocument.drawingml.diagramData+xml"/>
  <Override PartName="/ppt/diagrams/layout44.xml" ContentType="application/vnd.openxmlformats-officedocument.drawingml.diagramLayout+xml"/>
  <Override PartName="/ppt/diagrams/quickStyle44.xml" ContentType="application/vnd.openxmlformats-officedocument.drawingml.diagramStyle+xml"/>
  <Override PartName="/ppt/diagrams/colors44.xml" ContentType="application/vnd.openxmlformats-officedocument.drawingml.diagramColors+xml"/>
  <Override PartName="/ppt/diagrams/drawing44.xml" ContentType="application/vnd.ms-office.drawingml.diagramDrawing+xml"/>
  <Override PartName="/ppt/diagrams/data45.xml" ContentType="application/vnd.openxmlformats-officedocument.drawingml.diagramData+xml"/>
  <Override PartName="/ppt/diagrams/layout45.xml" ContentType="application/vnd.openxmlformats-officedocument.drawingml.diagramLayout+xml"/>
  <Override PartName="/ppt/diagrams/quickStyle45.xml" ContentType="application/vnd.openxmlformats-officedocument.drawingml.diagramStyle+xml"/>
  <Override PartName="/ppt/diagrams/colors45.xml" ContentType="application/vnd.openxmlformats-officedocument.drawingml.diagramColors+xml"/>
  <Override PartName="/ppt/diagrams/drawing45.xml" ContentType="application/vnd.ms-office.drawingml.diagramDrawing+xml"/>
  <Override PartName="/ppt/diagrams/data46.xml" ContentType="application/vnd.openxmlformats-officedocument.drawingml.diagramData+xml"/>
  <Override PartName="/ppt/diagrams/layout46.xml" ContentType="application/vnd.openxmlformats-officedocument.drawingml.diagramLayout+xml"/>
  <Override PartName="/ppt/diagrams/quickStyle46.xml" ContentType="application/vnd.openxmlformats-officedocument.drawingml.diagramStyle+xml"/>
  <Override PartName="/ppt/diagrams/colors46.xml" ContentType="application/vnd.openxmlformats-officedocument.drawingml.diagramColors+xml"/>
  <Override PartName="/ppt/diagrams/drawing46.xml" ContentType="application/vnd.ms-office.drawingml.diagramDrawing+xml"/>
  <Override PartName="/ppt/diagrams/data47.xml" ContentType="application/vnd.openxmlformats-officedocument.drawingml.diagramData+xml"/>
  <Override PartName="/ppt/diagrams/layout47.xml" ContentType="application/vnd.openxmlformats-officedocument.drawingml.diagramLayout+xml"/>
  <Override PartName="/ppt/diagrams/quickStyle47.xml" ContentType="application/vnd.openxmlformats-officedocument.drawingml.diagramStyle+xml"/>
  <Override PartName="/ppt/diagrams/colors47.xml" ContentType="application/vnd.openxmlformats-officedocument.drawingml.diagramColors+xml"/>
  <Override PartName="/ppt/diagrams/drawing47.xml" ContentType="application/vnd.ms-office.drawingml.diagramDrawing+xml"/>
  <Override PartName="/ppt/diagrams/data48.xml" ContentType="application/vnd.openxmlformats-officedocument.drawingml.diagramData+xml"/>
  <Override PartName="/ppt/diagrams/layout48.xml" ContentType="application/vnd.openxmlformats-officedocument.drawingml.diagramLayout+xml"/>
  <Override PartName="/ppt/diagrams/quickStyle48.xml" ContentType="application/vnd.openxmlformats-officedocument.drawingml.diagramStyle+xml"/>
  <Override PartName="/ppt/diagrams/colors48.xml" ContentType="application/vnd.openxmlformats-officedocument.drawingml.diagramColors+xml"/>
  <Override PartName="/ppt/diagrams/drawing48.xml" ContentType="application/vnd.ms-office.drawingml.diagramDrawing+xml"/>
  <Override PartName="/ppt/diagrams/data49.xml" ContentType="application/vnd.openxmlformats-officedocument.drawingml.diagramData+xml"/>
  <Override PartName="/ppt/diagrams/layout49.xml" ContentType="application/vnd.openxmlformats-officedocument.drawingml.diagramLayout+xml"/>
  <Override PartName="/ppt/diagrams/quickStyle49.xml" ContentType="application/vnd.openxmlformats-officedocument.drawingml.diagramStyle+xml"/>
  <Override PartName="/ppt/diagrams/colors49.xml" ContentType="application/vnd.openxmlformats-officedocument.drawingml.diagramColors+xml"/>
  <Override PartName="/ppt/diagrams/drawing49.xml" ContentType="application/vnd.ms-office.drawingml.diagramDrawing+xml"/>
  <Override PartName="/ppt/notesSlides/notesSlide2.xml" ContentType="application/vnd.openxmlformats-officedocument.presentationml.notesSlide+xml"/>
  <Override PartName="/ppt/diagrams/data50.xml" ContentType="application/vnd.openxmlformats-officedocument.drawingml.diagramData+xml"/>
  <Override PartName="/ppt/diagrams/layout50.xml" ContentType="application/vnd.openxmlformats-officedocument.drawingml.diagramLayout+xml"/>
  <Override PartName="/ppt/diagrams/quickStyle50.xml" ContentType="application/vnd.openxmlformats-officedocument.drawingml.diagramStyle+xml"/>
  <Override PartName="/ppt/diagrams/colors50.xml" ContentType="application/vnd.openxmlformats-officedocument.drawingml.diagramColors+xml"/>
  <Override PartName="/ppt/diagrams/drawing50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02" r:id="rId2"/>
    <p:sldMasterId id="2147483727" r:id="rId3"/>
    <p:sldMasterId id="2147483766" r:id="rId4"/>
    <p:sldMasterId id="2147483878" r:id="rId5"/>
  </p:sldMasterIdLst>
  <p:notesMasterIdLst>
    <p:notesMasterId r:id="rId33"/>
  </p:notesMasterIdLst>
  <p:sldIdLst>
    <p:sldId id="475" r:id="rId6"/>
    <p:sldId id="489" r:id="rId7"/>
    <p:sldId id="490" r:id="rId8"/>
    <p:sldId id="445" r:id="rId9"/>
    <p:sldId id="491" r:id="rId10"/>
    <p:sldId id="492" r:id="rId11"/>
    <p:sldId id="493" r:id="rId12"/>
    <p:sldId id="494" r:id="rId13"/>
    <p:sldId id="495" r:id="rId14"/>
    <p:sldId id="447" r:id="rId15"/>
    <p:sldId id="448" r:id="rId16"/>
    <p:sldId id="478" r:id="rId17"/>
    <p:sldId id="496" r:id="rId18"/>
    <p:sldId id="480" r:id="rId19"/>
    <p:sldId id="497" r:id="rId20"/>
    <p:sldId id="461" r:id="rId21"/>
    <p:sldId id="481" r:id="rId22"/>
    <p:sldId id="498" r:id="rId23"/>
    <p:sldId id="462" r:id="rId24"/>
    <p:sldId id="424" r:id="rId25"/>
    <p:sldId id="472" r:id="rId26"/>
    <p:sldId id="483" r:id="rId27"/>
    <p:sldId id="499" r:id="rId28"/>
    <p:sldId id="468" r:id="rId29"/>
    <p:sldId id="500" r:id="rId30"/>
    <p:sldId id="469" r:id="rId31"/>
    <p:sldId id="477" r:id="rId32"/>
  </p:sldIdLst>
  <p:sldSz cx="9144000" cy="6858000" type="screen4x3"/>
  <p:notesSz cx="6858000" cy="9144000"/>
  <p:defaultTextStyle>
    <a:defPPr>
      <a:defRPr lang="pt-B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38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3E52"/>
    <a:srgbClr val="858585"/>
    <a:srgbClr val="666666"/>
    <a:srgbClr val="612C51"/>
    <a:srgbClr val="FFFFFF"/>
    <a:srgbClr val="7C6992"/>
    <a:srgbClr val="FF8200"/>
    <a:srgbClr val="FDD7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Estilo Claro 3 - Ênfase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555" autoAdjust="0"/>
    <p:restoredTop sz="95339" autoAdjust="0"/>
  </p:normalViewPr>
  <p:slideViewPr>
    <p:cSldViewPr>
      <p:cViewPr varScale="1">
        <p:scale>
          <a:sx n="74" d="100"/>
          <a:sy n="74" d="100"/>
        </p:scale>
        <p:origin x="1386" y="54"/>
      </p:cViewPr>
      <p:guideLst>
        <p:guide orient="horz" pos="2160"/>
        <p:guide pos="238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viewProps" Target="viewProps.xml"/></Relationships>
</file>

<file path=ppt/diagrams/_rels/data17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g"/></Relationships>
</file>

<file path=ppt/diagrams/_rels/data1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jpeg"/></Relationships>
</file>

<file path=ppt/diagrams/_rels/data19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jpg"/></Relationships>
</file>

<file path=ppt/diagrams/_rels/data20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g"/></Relationships>
</file>

<file path=ppt/diagrams/_rels/data2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g"/></Relationships>
</file>

<file path=ppt/diagrams/_rels/data24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g"/></Relationships>
</file>

<file path=ppt/diagrams/_rels/data2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jpeg"/></Relationships>
</file>

<file path=ppt/diagrams/_rels/data26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jpg"/></Relationships>
</file>

<file path=ppt/diagrams/_rels/data27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g"/></Relationships>
</file>

<file path=ppt/diagrams/_rels/data2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g"/></Relationships>
</file>

<file path=ppt/diagrams/_rels/data3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g"/></Relationships>
</file>

<file path=ppt/diagrams/_rels/data32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g"/></Relationships>
</file>

<file path=ppt/diagrams/_rels/data3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jpeg"/></Relationships>
</file>

<file path=ppt/diagrams/_rels/data34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jpg"/></Relationships>
</file>

<file path=ppt/diagrams/_rels/data35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g"/></Relationships>
</file>

<file path=ppt/diagrams/_rels/data3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g"/></Relationships>
</file>

<file path=ppt/diagrams/_rels/data39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g"/></Relationships>
</file>

<file path=ppt/diagrams/_rels/data4.xml.rels><?xml version="1.0" encoding="UTF-8" standalone="yes"?>
<Relationships xmlns="http://schemas.openxmlformats.org/package/2006/relationships"><Relationship Id="rId1" Type="http://schemas.openxmlformats.org/officeDocument/2006/relationships/image" Target="../media/image7.jpeg"/></Relationships>
</file>

<file path=ppt/diagrams/_rels/data4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jpeg"/></Relationships>
</file>

<file path=ppt/diagrams/_rels/data41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jpg"/></Relationships>
</file>

<file path=ppt/diagrams/_rels/data42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g"/></Relationships>
</file>

<file path=ppt/diagrams/_rels/data4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g"/></Relationships>
</file>

<file path=ppt/diagrams/_rels/data45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g"/></Relationships>
</file>

<file path=ppt/diagrams/_rels/data4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jpeg"/></Relationships>
</file>

<file path=ppt/diagrams/_rels/data47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jpg"/></Relationships>
</file>

<file path=ppt/diagrams/_rels/data48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g"/></Relationships>
</file>

<file path=ppt/diagrams/_rels/data4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g"/></Relationships>
</file>

<file path=ppt/diagrams/_rels/data5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jpg"/></Relationships>
</file>

<file path=ppt/diagrams/_rels/data6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g"/></Relationships>
</file>

<file path=ppt/diagrams/_rels/data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g"/></Relationships>
</file>

<file path=ppt/diagrams/_rels/drawing3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g"/></Relationships>
</file>

<file path=ppt/diagrams/_rels/drawing4.xml.rels><?xml version="1.0" encoding="UTF-8" standalone="yes"?>
<Relationships xmlns="http://schemas.openxmlformats.org/package/2006/relationships"><Relationship Id="rId1" Type="http://schemas.openxmlformats.org/officeDocument/2006/relationships/image" Target="../media/image7.jpeg"/></Relationships>
</file>

<file path=ppt/diagrams/_rels/drawing5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jpg"/></Relationships>
</file>

<file path=ppt/diagrams/_rels/drawing6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g"/></Relationships>
</file>

<file path=ppt/diagrams/_rels/drawing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A765B883-D738-4224-BBB7-A401E959E82F}">
      <dgm:prSet phldrT="[Texto]" phldr="1"/>
      <dgm:spPr/>
      <dgm:t>
        <a:bodyPr/>
        <a:lstStyle/>
        <a:p>
          <a:endParaRPr lang="pt-BR" dirty="0"/>
        </a:p>
      </dgm:t>
    </dgm:pt>
    <dgm:pt modelId="{95A4D4EA-7CB5-4D2F-BDE9-F89D1F66E048}" type="sibTrans" cxnId="{3A73625F-242B-4C1F-AEBD-6A2E61FFBD24}">
      <dgm:prSet/>
      <dgm:spPr/>
      <dgm:t>
        <a:bodyPr/>
        <a:lstStyle/>
        <a:p>
          <a:endParaRPr lang="pt-BR"/>
        </a:p>
      </dgm:t>
    </dgm:pt>
    <dgm:pt modelId="{E2A476DE-C025-401B-95EB-B7DD71910D45}" type="parTrans" cxnId="{3A73625F-242B-4C1F-AEBD-6A2E61FFBD24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59F4F430-CF8A-4CDD-8803-04847B219018}" type="pres">
      <dgm:prSet presAssocID="{A765B883-D738-4224-BBB7-A401E959E82F}" presName="composite" presStyleCnt="0"/>
      <dgm:spPr/>
    </dgm:pt>
    <dgm:pt modelId="{E0815C27-9299-4A10-BA69-3681FDE9BA88}" type="pres">
      <dgm:prSet presAssocID="{A765B883-D738-4224-BBB7-A401E959E82F}" presName="ParentAccentShape" presStyleLbl="trBgShp" presStyleIdx="0" presStyleCnt="1" custLinFactY="-8648" custLinFactNeighborX="58653" custLinFactNeighborY="-100000"/>
      <dgm:spPr/>
    </dgm:pt>
    <dgm:pt modelId="{EFE68462-38E2-44E8-8E14-735108AD2FE1}" type="pres">
      <dgm:prSet presAssocID="{A765B883-D738-4224-BBB7-A401E959E82F}" presName="ParentText" presStyleLbl="revTx" presStyleIdx="0" presStyleCnt="2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4CC9846-EE27-470E-B014-4F1AAA106133}" type="pres">
      <dgm:prSet presAssocID="{A765B883-D738-4224-BBB7-A401E959E82F}" presName="ChildText" presStyleLbl="revTx" presStyleIdx="1" presStyleCnt="2">
        <dgm:presLayoutVars>
          <dgm:chMax val="0"/>
          <dgm:chPref val="0"/>
        </dgm:presLayoutVars>
      </dgm:prSet>
      <dgm:spPr/>
      <dgm:t>
        <a:bodyPr/>
        <a:lstStyle/>
        <a:p>
          <a:endParaRPr lang="pt-BR"/>
        </a:p>
      </dgm:t>
    </dgm:pt>
    <dgm:pt modelId="{1A486E5E-081E-4355-92D9-7A94CE7B3C10}" type="pres">
      <dgm:prSet presAssocID="{A765B883-D738-4224-BBB7-A401E959E82F}" presName="ChildAccentShape" presStyleLbl="trBgShp" presStyleIdx="0" presStyleCnt="1"/>
      <dgm:spPr/>
    </dgm:pt>
    <dgm:pt modelId="{8AF078F8-465A-4EBE-8452-00EAE3CB1D3E}" type="pres">
      <dgm:prSet presAssocID="{A765B883-D738-4224-BBB7-A401E959E82F}" presName="Image" presStyleLbl="alignImgPlace1" presStyleIdx="0" presStyleCnt="1" custScaleX="202166" custScaleY="246792" custLinFactX="524254" custLinFactY="-548098" custLinFactNeighborX="600000" custLinFactNeighborY="-600000"/>
      <dgm:spPr/>
      <dgm:t>
        <a:bodyPr/>
        <a:lstStyle/>
        <a:p>
          <a:endParaRPr lang="pt-BR"/>
        </a:p>
      </dgm:t>
    </dgm:pt>
  </dgm:ptLst>
  <dgm:cxnLst>
    <dgm:cxn modelId="{81C5B74F-0F41-4857-935A-3DF97A284716}" type="presOf" srcId="{A765B883-D738-4224-BBB7-A401E959E82F}" destId="{EFE68462-38E2-44E8-8E14-735108AD2FE1}" srcOrd="0" destOrd="0" presId="urn:microsoft.com/office/officeart/2009/3/layout/SnapshotPictureList"/>
    <dgm:cxn modelId="{3A73625F-242B-4C1F-AEBD-6A2E61FFBD24}" srcId="{AF16A61B-CACB-441B-8B4E-916A37A6FA8C}" destId="{A765B883-D738-4224-BBB7-A401E959E82F}" srcOrd="0" destOrd="0" parTransId="{E2A476DE-C025-401B-95EB-B7DD71910D45}" sibTransId="{95A4D4EA-7CB5-4D2F-BDE9-F89D1F66E048}"/>
    <dgm:cxn modelId="{F130B197-D02E-4BC7-8CF4-33F114BE656B}" type="presOf" srcId="{AF16A61B-CACB-441B-8B4E-916A37A6FA8C}" destId="{4ADFCD1E-F86F-4980-949D-F2AA3FFA5232}" srcOrd="0" destOrd="0" presId="urn:microsoft.com/office/officeart/2009/3/layout/SnapshotPictureList"/>
    <dgm:cxn modelId="{D1F3A107-4979-46FB-8A20-CC272AC6F81C}" type="presParOf" srcId="{4ADFCD1E-F86F-4980-949D-F2AA3FFA5232}" destId="{59F4F430-CF8A-4CDD-8803-04847B219018}" srcOrd="0" destOrd="0" presId="urn:microsoft.com/office/officeart/2009/3/layout/SnapshotPictureList"/>
    <dgm:cxn modelId="{1E30F3C3-5352-4009-8007-051AB2BE82B2}" type="presParOf" srcId="{59F4F430-CF8A-4CDD-8803-04847B219018}" destId="{E0815C27-9299-4A10-BA69-3681FDE9BA88}" srcOrd="0" destOrd="0" presId="urn:microsoft.com/office/officeart/2009/3/layout/SnapshotPictureList"/>
    <dgm:cxn modelId="{FA701A05-DA68-44E2-875E-64BFA000618D}" type="presParOf" srcId="{59F4F430-CF8A-4CDD-8803-04847B219018}" destId="{EFE68462-38E2-44E8-8E14-735108AD2FE1}" srcOrd="1" destOrd="0" presId="urn:microsoft.com/office/officeart/2009/3/layout/SnapshotPictureList"/>
    <dgm:cxn modelId="{CCDB73E3-66B0-4823-B249-B951C0042441}" type="presParOf" srcId="{59F4F430-CF8A-4CDD-8803-04847B219018}" destId="{64CC9846-EE27-470E-B014-4F1AAA106133}" srcOrd="2" destOrd="0" presId="urn:microsoft.com/office/officeart/2009/3/layout/SnapshotPictureList"/>
    <dgm:cxn modelId="{D560A061-4976-4C8F-90B6-BEEAB8318C81}" type="presParOf" srcId="{59F4F430-CF8A-4CDD-8803-04847B219018}" destId="{1A486E5E-081E-4355-92D9-7A94CE7B3C10}" srcOrd="3" destOrd="0" presId="urn:microsoft.com/office/officeart/2009/3/layout/SnapshotPictureList"/>
    <dgm:cxn modelId="{D90943C6-21C0-4CE4-88D2-8963799959EF}" type="presParOf" srcId="{59F4F430-CF8A-4CDD-8803-04847B219018}" destId="{8AF078F8-465A-4EBE-8452-00EAE3CB1D3E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168175" custScaleY="226974" custLinFactNeighborY="-51949"/>
      <dgm:spPr/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2AB4C0B7-D851-42BF-B099-DBB73ADE28CB}" type="presOf" srcId="{492659FD-171D-4B9B-8F01-EC8B9BFB8AF5}" destId="{25CD0F31-D6F4-43F1-986E-D2D05F4123CB}" srcOrd="0" destOrd="0" presId="urn:microsoft.com/office/officeart/2009/3/layout/SnapshotPictureList"/>
    <dgm:cxn modelId="{B935A7F9-B39D-4BC1-9A13-2DF66AF3347C}" type="presOf" srcId="{AF16A61B-CACB-441B-8B4E-916A37A6FA8C}" destId="{4ADFCD1E-F86F-4980-949D-F2AA3FFA5232}" srcOrd="0" destOrd="0" presId="urn:microsoft.com/office/officeart/2009/3/layout/SnapshotPictureList"/>
    <dgm:cxn modelId="{7F336658-16E3-4D64-8B82-3638F4A56E4C}" type="presParOf" srcId="{4ADFCD1E-F86F-4980-949D-F2AA3FFA5232}" destId="{0E5C99CB-8CFA-49D5-A73A-01608B8BF867}" srcOrd="0" destOrd="0" presId="urn:microsoft.com/office/officeart/2009/3/layout/SnapshotPictureList"/>
    <dgm:cxn modelId="{7FA3ACBF-C2A8-414F-8D1F-3C33D8738FEB}" type="presParOf" srcId="{0E5C99CB-8CFA-49D5-A73A-01608B8BF867}" destId="{3AE3D318-F4CD-468B-861E-A7E411945EC1}" srcOrd="0" destOrd="0" presId="urn:microsoft.com/office/officeart/2009/3/layout/SnapshotPictureList"/>
    <dgm:cxn modelId="{FD46DB1D-E125-484A-89F0-56213EC76E28}" type="presParOf" srcId="{0E5C99CB-8CFA-49D5-A73A-01608B8BF867}" destId="{25CD0F31-D6F4-43F1-986E-D2D05F4123CB}" srcOrd="1" destOrd="0" presId="urn:microsoft.com/office/officeart/2009/3/layout/SnapshotPictureList"/>
    <dgm:cxn modelId="{595D43AC-794A-4E92-8B90-3F88A04D64C1}" type="presParOf" srcId="{0E5C99CB-8CFA-49D5-A73A-01608B8BF867}" destId="{C77FB5DD-B166-4F86-8CE7-3856C78F26B8}" srcOrd="2" destOrd="0" presId="urn:microsoft.com/office/officeart/2009/3/layout/SnapshotPictureList"/>
    <dgm:cxn modelId="{B42381DC-1C22-4A72-B893-E187EEF4C607}" type="presParOf" srcId="{0E5C99CB-8CFA-49D5-A73A-01608B8BF867}" destId="{DF963FF3-509C-4EB6-ADB3-2C257F7BFCEE}" srcOrd="3" destOrd="0" presId="urn:microsoft.com/office/officeart/2009/3/layout/SnapshotPictureList"/>
    <dgm:cxn modelId="{6E634B7D-1E19-4603-BE4D-813BCCB0F8F3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168175" custScaleY="226974" custLinFactNeighborY="-51949"/>
      <dgm:spPr/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D24978AD-A512-41BF-8A91-B465AD8A2A29}" type="presOf" srcId="{AF16A61B-CACB-441B-8B4E-916A37A6FA8C}" destId="{4ADFCD1E-F86F-4980-949D-F2AA3FFA5232}" srcOrd="0" destOrd="0" presId="urn:microsoft.com/office/officeart/2009/3/layout/SnapshotPictureList"/>
    <dgm:cxn modelId="{9F3CC6D8-9EE6-44CD-B44D-53ACCA6908C2}" type="presOf" srcId="{492659FD-171D-4B9B-8F01-EC8B9BFB8AF5}" destId="{25CD0F31-D6F4-43F1-986E-D2D05F4123CB}" srcOrd="0" destOrd="0" presId="urn:microsoft.com/office/officeart/2009/3/layout/SnapshotPictureList"/>
    <dgm:cxn modelId="{45381E5D-E55D-4714-ADE0-82F1C84AA5E3}" type="presParOf" srcId="{4ADFCD1E-F86F-4980-949D-F2AA3FFA5232}" destId="{0E5C99CB-8CFA-49D5-A73A-01608B8BF867}" srcOrd="0" destOrd="0" presId="urn:microsoft.com/office/officeart/2009/3/layout/SnapshotPictureList"/>
    <dgm:cxn modelId="{1F6ADA0E-46CF-470E-95FD-BE41FE392CCD}" type="presParOf" srcId="{0E5C99CB-8CFA-49D5-A73A-01608B8BF867}" destId="{3AE3D318-F4CD-468B-861E-A7E411945EC1}" srcOrd="0" destOrd="0" presId="urn:microsoft.com/office/officeart/2009/3/layout/SnapshotPictureList"/>
    <dgm:cxn modelId="{377600E7-8698-4D6C-A648-5F24B0D122B0}" type="presParOf" srcId="{0E5C99CB-8CFA-49D5-A73A-01608B8BF867}" destId="{25CD0F31-D6F4-43F1-986E-D2D05F4123CB}" srcOrd="1" destOrd="0" presId="urn:microsoft.com/office/officeart/2009/3/layout/SnapshotPictureList"/>
    <dgm:cxn modelId="{9378E699-DA14-4739-A223-DB379C2F03D7}" type="presParOf" srcId="{0E5C99CB-8CFA-49D5-A73A-01608B8BF867}" destId="{C77FB5DD-B166-4F86-8CE7-3856C78F26B8}" srcOrd="2" destOrd="0" presId="urn:microsoft.com/office/officeart/2009/3/layout/SnapshotPictureList"/>
    <dgm:cxn modelId="{6FE98932-517E-4C24-8C10-AFA555A92583}" type="presParOf" srcId="{0E5C99CB-8CFA-49D5-A73A-01608B8BF867}" destId="{DF963FF3-509C-4EB6-ADB3-2C257F7BFCEE}" srcOrd="3" destOrd="0" presId="urn:microsoft.com/office/officeart/2009/3/layout/SnapshotPictureList"/>
    <dgm:cxn modelId="{7FBEBC27-A54C-477D-B7B2-4A0A9B3FED21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168175" custScaleY="226974" custLinFactNeighborY="-51949"/>
      <dgm:spPr/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0F6E9068-C6FE-4D96-B440-D0B027705402}" type="presOf" srcId="{492659FD-171D-4B9B-8F01-EC8B9BFB8AF5}" destId="{25CD0F31-D6F4-43F1-986E-D2D05F4123CB}" srcOrd="0" destOrd="0" presId="urn:microsoft.com/office/officeart/2009/3/layout/SnapshotPictureList"/>
    <dgm:cxn modelId="{A892929E-3F67-4258-8DBA-1B7673E7E943}" type="presOf" srcId="{AF16A61B-CACB-441B-8B4E-916A37A6FA8C}" destId="{4ADFCD1E-F86F-4980-949D-F2AA3FFA5232}" srcOrd="0" destOrd="0" presId="urn:microsoft.com/office/officeart/2009/3/layout/SnapshotPictureList"/>
    <dgm:cxn modelId="{D9E95EE0-25C7-4A88-9815-3F33A2662F33}" type="presParOf" srcId="{4ADFCD1E-F86F-4980-949D-F2AA3FFA5232}" destId="{0E5C99CB-8CFA-49D5-A73A-01608B8BF867}" srcOrd="0" destOrd="0" presId="urn:microsoft.com/office/officeart/2009/3/layout/SnapshotPictureList"/>
    <dgm:cxn modelId="{43EF97D2-88BF-4BF7-B590-0952E21BFB24}" type="presParOf" srcId="{0E5C99CB-8CFA-49D5-A73A-01608B8BF867}" destId="{3AE3D318-F4CD-468B-861E-A7E411945EC1}" srcOrd="0" destOrd="0" presId="urn:microsoft.com/office/officeart/2009/3/layout/SnapshotPictureList"/>
    <dgm:cxn modelId="{992FA217-8C11-4DFA-9F10-6F798656CE77}" type="presParOf" srcId="{0E5C99CB-8CFA-49D5-A73A-01608B8BF867}" destId="{25CD0F31-D6F4-43F1-986E-D2D05F4123CB}" srcOrd="1" destOrd="0" presId="urn:microsoft.com/office/officeart/2009/3/layout/SnapshotPictureList"/>
    <dgm:cxn modelId="{5E20256B-E031-422F-8AFB-9B9CEA270D9E}" type="presParOf" srcId="{0E5C99CB-8CFA-49D5-A73A-01608B8BF867}" destId="{C77FB5DD-B166-4F86-8CE7-3856C78F26B8}" srcOrd="2" destOrd="0" presId="urn:microsoft.com/office/officeart/2009/3/layout/SnapshotPictureList"/>
    <dgm:cxn modelId="{DDE0489D-BDEA-417E-832C-6BC2DE0BA2C7}" type="presParOf" srcId="{0E5C99CB-8CFA-49D5-A73A-01608B8BF867}" destId="{DF963FF3-509C-4EB6-ADB3-2C257F7BFCEE}" srcOrd="3" destOrd="0" presId="urn:microsoft.com/office/officeart/2009/3/layout/SnapshotPictureList"/>
    <dgm:cxn modelId="{D7E24B63-AF66-4589-98EF-ACED551DFBD7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168175" custScaleY="226974" custLinFactNeighborY="-51949"/>
      <dgm:spPr/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E857B982-64FB-4A12-8782-796DEEF0B457}" type="presOf" srcId="{AF16A61B-CACB-441B-8B4E-916A37A6FA8C}" destId="{4ADFCD1E-F86F-4980-949D-F2AA3FFA5232}" srcOrd="0" destOrd="0" presId="urn:microsoft.com/office/officeart/2009/3/layout/SnapshotPictureList"/>
    <dgm:cxn modelId="{0341F025-E4AD-482D-9B4F-69913E55C155}" type="presOf" srcId="{492659FD-171D-4B9B-8F01-EC8B9BFB8AF5}" destId="{25CD0F31-D6F4-43F1-986E-D2D05F4123CB}" srcOrd="0" destOrd="0" presId="urn:microsoft.com/office/officeart/2009/3/layout/SnapshotPictureList"/>
    <dgm:cxn modelId="{A885E931-E6C9-45C3-BDC8-4300BA773809}" type="presParOf" srcId="{4ADFCD1E-F86F-4980-949D-F2AA3FFA5232}" destId="{0E5C99CB-8CFA-49D5-A73A-01608B8BF867}" srcOrd="0" destOrd="0" presId="urn:microsoft.com/office/officeart/2009/3/layout/SnapshotPictureList"/>
    <dgm:cxn modelId="{8BF206B4-F367-4B93-8EA2-3FE6CE3C48E8}" type="presParOf" srcId="{0E5C99CB-8CFA-49D5-A73A-01608B8BF867}" destId="{3AE3D318-F4CD-468B-861E-A7E411945EC1}" srcOrd="0" destOrd="0" presId="urn:microsoft.com/office/officeart/2009/3/layout/SnapshotPictureList"/>
    <dgm:cxn modelId="{188E6A48-2A9D-43F6-86E4-9209DDAF231F}" type="presParOf" srcId="{0E5C99CB-8CFA-49D5-A73A-01608B8BF867}" destId="{25CD0F31-D6F4-43F1-986E-D2D05F4123CB}" srcOrd="1" destOrd="0" presId="urn:microsoft.com/office/officeart/2009/3/layout/SnapshotPictureList"/>
    <dgm:cxn modelId="{037192CC-ADA1-49E9-A19F-3531CCC7201B}" type="presParOf" srcId="{0E5C99CB-8CFA-49D5-A73A-01608B8BF867}" destId="{C77FB5DD-B166-4F86-8CE7-3856C78F26B8}" srcOrd="2" destOrd="0" presId="urn:microsoft.com/office/officeart/2009/3/layout/SnapshotPictureList"/>
    <dgm:cxn modelId="{F9A27280-DDF7-474B-AA46-73EFF37D54E2}" type="presParOf" srcId="{0E5C99CB-8CFA-49D5-A73A-01608B8BF867}" destId="{DF963FF3-509C-4EB6-ADB3-2C257F7BFCEE}" srcOrd="3" destOrd="0" presId="urn:microsoft.com/office/officeart/2009/3/layout/SnapshotPictureList"/>
    <dgm:cxn modelId="{36407DE2-EA21-4689-88FF-CFD9DD3099FB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168175" custScaleY="226974" custLinFactNeighborY="-51949"/>
      <dgm:spPr/>
      <dgm:t>
        <a:bodyPr/>
        <a:lstStyle/>
        <a:p>
          <a:endParaRPr lang="pt-BR"/>
        </a:p>
      </dgm:t>
    </dgm:pt>
  </dgm:ptLst>
  <dgm:cxnLst>
    <dgm:cxn modelId="{BBE97713-CA3C-4A03-A6FF-D412A298C890}" type="presOf" srcId="{492659FD-171D-4B9B-8F01-EC8B9BFB8AF5}" destId="{25CD0F31-D6F4-43F1-986E-D2D05F4123CB}" srcOrd="0" destOrd="0" presId="urn:microsoft.com/office/officeart/2009/3/layout/SnapshotPictureList"/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FAD58123-3C8D-4EF0-BA5B-30EDD27E64F7}" type="presOf" srcId="{AF16A61B-CACB-441B-8B4E-916A37A6FA8C}" destId="{4ADFCD1E-F86F-4980-949D-F2AA3FFA5232}" srcOrd="0" destOrd="0" presId="urn:microsoft.com/office/officeart/2009/3/layout/SnapshotPictureList"/>
    <dgm:cxn modelId="{AC5FF39F-DC2A-40AE-B9CA-3511860588F2}" type="presParOf" srcId="{4ADFCD1E-F86F-4980-949D-F2AA3FFA5232}" destId="{0E5C99CB-8CFA-49D5-A73A-01608B8BF867}" srcOrd="0" destOrd="0" presId="urn:microsoft.com/office/officeart/2009/3/layout/SnapshotPictureList"/>
    <dgm:cxn modelId="{F4466D4B-219F-4230-AD5E-52EB043C8A45}" type="presParOf" srcId="{0E5C99CB-8CFA-49D5-A73A-01608B8BF867}" destId="{3AE3D318-F4CD-468B-861E-A7E411945EC1}" srcOrd="0" destOrd="0" presId="urn:microsoft.com/office/officeart/2009/3/layout/SnapshotPictureList"/>
    <dgm:cxn modelId="{5844AEC3-C389-4C7E-B923-5E864A31D06B}" type="presParOf" srcId="{0E5C99CB-8CFA-49D5-A73A-01608B8BF867}" destId="{25CD0F31-D6F4-43F1-986E-D2D05F4123CB}" srcOrd="1" destOrd="0" presId="urn:microsoft.com/office/officeart/2009/3/layout/SnapshotPictureList"/>
    <dgm:cxn modelId="{6221F6EF-27D0-474B-AC3E-D05ADA9A2C18}" type="presParOf" srcId="{0E5C99CB-8CFA-49D5-A73A-01608B8BF867}" destId="{C77FB5DD-B166-4F86-8CE7-3856C78F26B8}" srcOrd="2" destOrd="0" presId="urn:microsoft.com/office/officeart/2009/3/layout/SnapshotPictureList"/>
    <dgm:cxn modelId="{75205F00-C402-453B-A22E-47603F5C15EA}" type="presParOf" srcId="{0E5C99CB-8CFA-49D5-A73A-01608B8BF867}" destId="{DF963FF3-509C-4EB6-ADB3-2C257F7BFCEE}" srcOrd="3" destOrd="0" presId="urn:microsoft.com/office/officeart/2009/3/layout/SnapshotPictureList"/>
    <dgm:cxn modelId="{2D0CBA28-1946-4E75-90B7-0C933CABF7D7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168175" custScaleY="226974" custLinFactNeighborY="-51949"/>
      <dgm:spPr/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5E8418AA-2CA4-4BE0-809A-7E21DEE01D46}" type="presOf" srcId="{AF16A61B-CACB-441B-8B4E-916A37A6FA8C}" destId="{4ADFCD1E-F86F-4980-949D-F2AA3FFA5232}" srcOrd="0" destOrd="0" presId="urn:microsoft.com/office/officeart/2009/3/layout/SnapshotPictureList"/>
    <dgm:cxn modelId="{DD359713-1E4F-4316-85C0-C279ECFCDF57}" type="presOf" srcId="{492659FD-171D-4B9B-8F01-EC8B9BFB8AF5}" destId="{25CD0F31-D6F4-43F1-986E-D2D05F4123CB}" srcOrd="0" destOrd="0" presId="urn:microsoft.com/office/officeart/2009/3/layout/SnapshotPictureList"/>
    <dgm:cxn modelId="{18FB29BD-2E00-4FC8-9F13-E6B3E6A2C9BA}" type="presParOf" srcId="{4ADFCD1E-F86F-4980-949D-F2AA3FFA5232}" destId="{0E5C99CB-8CFA-49D5-A73A-01608B8BF867}" srcOrd="0" destOrd="0" presId="urn:microsoft.com/office/officeart/2009/3/layout/SnapshotPictureList"/>
    <dgm:cxn modelId="{CED2ECB2-B3DA-4D4C-87BE-29E47C47054A}" type="presParOf" srcId="{0E5C99CB-8CFA-49D5-A73A-01608B8BF867}" destId="{3AE3D318-F4CD-468B-861E-A7E411945EC1}" srcOrd="0" destOrd="0" presId="urn:microsoft.com/office/officeart/2009/3/layout/SnapshotPictureList"/>
    <dgm:cxn modelId="{1872AF65-59FF-4C7A-8A8B-57FB119CEC0B}" type="presParOf" srcId="{0E5C99CB-8CFA-49D5-A73A-01608B8BF867}" destId="{25CD0F31-D6F4-43F1-986E-D2D05F4123CB}" srcOrd="1" destOrd="0" presId="urn:microsoft.com/office/officeart/2009/3/layout/SnapshotPictureList"/>
    <dgm:cxn modelId="{3E37892F-2B3B-42AC-9BA5-4D2FA73B2894}" type="presParOf" srcId="{0E5C99CB-8CFA-49D5-A73A-01608B8BF867}" destId="{C77FB5DD-B166-4F86-8CE7-3856C78F26B8}" srcOrd="2" destOrd="0" presId="urn:microsoft.com/office/officeart/2009/3/layout/SnapshotPictureList"/>
    <dgm:cxn modelId="{662023D4-9534-4E14-AD67-CBC259ED7809}" type="presParOf" srcId="{0E5C99CB-8CFA-49D5-A73A-01608B8BF867}" destId="{DF963FF3-509C-4EB6-ADB3-2C257F7BFCEE}" srcOrd="3" destOrd="0" presId="urn:microsoft.com/office/officeart/2009/3/layout/SnapshotPictureList"/>
    <dgm:cxn modelId="{2ACADEBE-3701-4B2A-B0D5-C39B70A61706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168175" custScaleY="226974" custLinFactNeighborY="-51949"/>
      <dgm:spPr/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1AB1FB2E-B433-4574-B4BB-D488B036AA1B}" type="presOf" srcId="{492659FD-171D-4B9B-8F01-EC8B9BFB8AF5}" destId="{25CD0F31-D6F4-43F1-986E-D2D05F4123CB}" srcOrd="0" destOrd="0" presId="urn:microsoft.com/office/officeart/2009/3/layout/SnapshotPictureList"/>
    <dgm:cxn modelId="{621D5BA9-448C-4F52-932A-ADFD6AB67201}" type="presOf" srcId="{AF16A61B-CACB-441B-8B4E-916A37A6FA8C}" destId="{4ADFCD1E-F86F-4980-949D-F2AA3FFA5232}" srcOrd="0" destOrd="0" presId="urn:microsoft.com/office/officeart/2009/3/layout/SnapshotPictureList"/>
    <dgm:cxn modelId="{A20EB8F5-A866-429C-ABCB-3D6CA0AC7298}" type="presParOf" srcId="{4ADFCD1E-F86F-4980-949D-F2AA3FFA5232}" destId="{0E5C99CB-8CFA-49D5-A73A-01608B8BF867}" srcOrd="0" destOrd="0" presId="urn:microsoft.com/office/officeart/2009/3/layout/SnapshotPictureList"/>
    <dgm:cxn modelId="{AB6647E8-AF5E-40D8-B30E-B245CCB5E6F7}" type="presParOf" srcId="{0E5C99CB-8CFA-49D5-A73A-01608B8BF867}" destId="{3AE3D318-F4CD-468B-861E-A7E411945EC1}" srcOrd="0" destOrd="0" presId="urn:microsoft.com/office/officeart/2009/3/layout/SnapshotPictureList"/>
    <dgm:cxn modelId="{1A13FDEF-2BA6-4718-8E11-D0245A4F463F}" type="presParOf" srcId="{0E5C99CB-8CFA-49D5-A73A-01608B8BF867}" destId="{25CD0F31-D6F4-43F1-986E-D2D05F4123CB}" srcOrd="1" destOrd="0" presId="urn:microsoft.com/office/officeart/2009/3/layout/SnapshotPictureList"/>
    <dgm:cxn modelId="{86BA8B3F-15AE-453B-9317-BDF0991EA39E}" type="presParOf" srcId="{0E5C99CB-8CFA-49D5-A73A-01608B8BF867}" destId="{C77FB5DD-B166-4F86-8CE7-3856C78F26B8}" srcOrd="2" destOrd="0" presId="urn:microsoft.com/office/officeart/2009/3/layout/SnapshotPictureList"/>
    <dgm:cxn modelId="{B125CCB5-ACAB-45CC-B195-3494E96835C1}" type="presParOf" srcId="{0E5C99CB-8CFA-49D5-A73A-01608B8BF867}" destId="{DF963FF3-509C-4EB6-ADB3-2C257F7BFCEE}" srcOrd="3" destOrd="0" presId="urn:microsoft.com/office/officeart/2009/3/layout/SnapshotPictureList"/>
    <dgm:cxn modelId="{014E444B-C41B-4D6D-A41C-9D6AAB2E8006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53004" custScaleY="315796" custLinFactNeighborY="-51949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F919CA39-DC35-4A02-9AED-0E3749E8D8CD}" type="presOf" srcId="{492659FD-171D-4B9B-8F01-EC8B9BFB8AF5}" destId="{25CD0F31-D6F4-43F1-986E-D2D05F4123CB}" srcOrd="0" destOrd="0" presId="urn:microsoft.com/office/officeart/2009/3/layout/SnapshotPictureList"/>
    <dgm:cxn modelId="{6C2B3FBC-1B01-470E-9FA4-B8DB1A912695}" type="presOf" srcId="{AF16A61B-CACB-441B-8B4E-916A37A6FA8C}" destId="{4ADFCD1E-F86F-4980-949D-F2AA3FFA5232}" srcOrd="0" destOrd="0" presId="urn:microsoft.com/office/officeart/2009/3/layout/SnapshotPictureList"/>
    <dgm:cxn modelId="{C02C09AA-D276-47B5-AEA7-A0484F352FC4}" type="presParOf" srcId="{4ADFCD1E-F86F-4980-949D-F2AA3FFA5232}" destId="{0E5C99CB-8CFA-49D5-A73A-01608B8BF867}" srcOrd="0" destOrd="0" presId="urn:microsoft.com/office/officeart/2009/3/layout/SnapshotPictureList"/>
    <dgm:cxn modelId="{BF719594-5F34-4959-A3E8-F26FC7FEADDC}" type="presParOf" srcId="{0E5C99CB-8CFA-49D5-A73A-01608B8BF867}" destId="{3AE3D318-F4CD-468B-861E-A7E411945EC1}" srcOrd="0" destOrd="0" presId="urn:microsoft.com/office/officeart/2009/3/layout/SnapshotPictureList"/>
    <dgm:cxn modelId="{B9BC3184-8948-4336-8227-D9304A540AC4}" type="presParOf" srcId="{0E5C99CB-8CFA-49D5-A73A-01608B8BF867}" destId="{25CD0F31-D6F4-43F1-986E-D2D05F4123CB}" srcOrd="1" destOrd="0" presId="urn:microsoft.com/office/officeart/2009/3/layout/SnapshotPictureList"/>
    <dgm:cxn modelId="{5E30D837-DC46-4521-AB6A-A39FDE1BF57F}" type="presParOf" srcId="{0E5C99CB-8CFA-49D5-A73A-01608B8BF867}" destId="{C77FB5DD-B166-4F86-8CE7-3856C78F26B8}" srcOrd="2" destOrd="0" presId="urn:microsoft.com/office/officeart/2009/3/layout/SnapshotPictureList"/>
    <dgm:cxn modelId="{2EAD7290-1182-44B5-9C9A-80C49B7DED66}" type="presParOf" srcId="{0E5C99CB-8CFA-49D5-A73A-01608B8BF867}" destId="{DF963FF3-509C-4EB6-ADB3-2C257F7BFCEE}" srcOrd="3" destOrd="0" presId="urn:microsoft.com/office/officeart/2009/3/layout/SnapshotPictureList"/>
    <dgm:cxn modelId="{2BB50A3B-D455-4A83-9EE5-B3B8F4570087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42999" custScaleY="285237" custLinFactNeighborX="-14395" custLinFactNeighborY="-3824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6000" r="-16000"/>
          </a:stretch>
        </a:blipFill>
      </dgm:spPr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1C6BA704-6A63-47C7-83D2-264FCDCA9E35}" type="presOf" srcId="{AF16A61B-CACB-441B-8B4E-916A37A6FA8C}" destId="{4ADFCD1E-F86F-4980-949D-F2AA3FFA5232}" srcOrd="0" destOrd="0" presId="urn:microsoft.com/office/officeart/2009/3/layout/SnapshotPictureList"/>
    <dgm:cxn modelId="{D30851BE-0A22-4A2D-930E-275D139097A6}" type="presOf" srcId="{492659FD-171D-4B9B-8F01-EC8B9BFB8AF5}" destId="{25CD0F31-D6F4-43F1-986E-D2D05F4123CB}" srcOrd="0" destOrd="0" presId="urn:microsoft.com/office/officeart/2009/3/layout/SnapshotPictureList"/>
    <dgm:cxn modelId="{2CDE7C75-6ADD-4453-B0E1-2A629195DF04}" type="presParOf" srcId="{4ADFCD1E-F86F-4980-949D-F2AA3FFA5232}" destId="{0E5C99CB-8CFA-49D5-A73A-01608B8BF867}" srcOrd="0" destOrd="0" presId="urn:microsoft.com/office/officeart/2009/3/layout/SnapshotPictureList"/>
    <dgm:cxn modelId="{12C8CB0E-5021-41EE-AEE7-21005C0D0072}" type="presParOf" srcId="{0E5C99CB-8CFA-49D5-A73A-01608B8BF867}" destId="{3AE3D318-F4CD-468B-861E-A7E411945EC1}" srcOrd="0" destOrd="0" presId="urn:microsoft.com/office/officeart/2009/3/layout/SnapshotPictureList"/>
    <dgm:cxn modelId="{C7AB6B1B-EBB1-4940-86D3-11DE8A24689E}" type="presParOf" srcId="{0E5C99CB-8CFA-49D5-A73A-01608B8BF867}" destId="{25CD0F31-D6F4-43F1-986E-D2D05F4123CB}" srcOrd="1" destOrd="0" presId="urn:microsoft.com/office/officeart/2009/3/layout/SnapshotPictureList"/>
    <dgm:cxn modelId="{D99047FD-C368-45F1-B526-95758DCE63BB}" type="presParOf" srcId="{0E5C99CB-8CFA-49D5-A73A-01608B8BF867}" destId="{C77FB5DD-B166-4F86-8CE7-3856C78F26B8}" srcOrd="2" destOrd="0" presId="urn:microsoft.com/office/officeart/2009/3/layout/SnapshotPictureList"/>
    <dgm:cxn modelId="{C1247532-F795-49A5-93B5-AE59D93E2753}" type="presParOf" srcId="{0E5C99CB-8CFA-49D5-A73A-01608B8BF867}" destId="{DF963FF3-509C-4EB6-ADB3-2C257F7BFCEE}" srcOrd="3" destOrd="0" presId="urn:microsoft.com/office/officeart/2009/3/layout/SnapshotPictureList"/>
    <dgm:cxn modelId="{1E0D20C5-5C29-4ABB-A884-66E15F3489D2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48977" custScaleY="299360" custLinFactNeighborX="-21633" custLinFactNeighborY="-2031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6B289931-39B0-477E-B807-4C067D479A21}" type="presOf" srcId="{492659FD-171D-4B9B-8F01-EC8B9BFB8AF5}" destId="{25CD0F31-D6F4-43F1-986E-D2D05F4123CB}" srcOrd="0" destOrd="0" presId="urn:microsoft.com/office/officeart/2009/3/layout/SnapshotPictureList"/>
    <dgm:cxn modelId="{7E04AAEF-10EC-439C-BAB0-07FBA78FBE59}" type="presOf" srcId="{AF16A61B-CACB-441B-8B4E-916A37A6FA8C}" destId="{4ADFCD1E-F86F-4980-949D-F2AA3FFA5232}" srcOrd="0" destOrd="0" presId="urn:microsoft.com/office/officeart/2009/3/layout/SnapshotPictureList"/>
    <dgm:cxn modelId="{9CE164D1-416B-45CE-BF18-690A91BB9487}" type="presParOf" srcId="{4ADFCD1E-F86F-4980-949D-F2AA3FFA5232}" destId="{0E5C99CB-8CFA-49D5-A73A-01608B8BF867}" srcOrd="0" destOrd="0" presId="urn:microsoft.com/office/officeart/2009/3/layout/SnapshotPictureList"/>
    <dgm:cxn modelId="{02F27079-D046-4836-BA16-A633AB9504FB}" type="presParOf" srcId="{0E5C99CB-8CFA-49D5-A73A-01608B8BF867}" destId="{3AE3D318-F4CD-468B-861E-A7E411945EC1}" srcOrd="0" destOrd="0" presId="urn:microsoft.com/office/officeart/2009/3/layout/SnapshotPictureList"/>
    <dgm:cxn modelId="{567F5C50-D41E-4986-BECC-8708E4E6278A}" type="presParOf" srcId="{0E5C99CB-8CFA-49D5-A73A-01608B8BF867}" destId="{25CD0F31-D6F4-43F1-986E-D2D05F4123CB}" srcOrd="1" destOrd="0" presId="urn:microsoft.com/office/officeart/2009/3/layout/SnapshotPictureList"/>
    <dgm:cxn modelId="{D94DF624-F2E8-499B-88BB-2CACF15DB87C}" type="presParOf" srcId="{0E5C99CB-8CFA-49D5-A73A-01608B8BF867}" destId="{C77FB5DD-B166-4F86-8CE7-3856C78F26B8}" srcOrd="2" destOrd="0" presId="urn:microsoft.com/office/officeart/2009/3/layout/SnapshotPictureList"/>
    <dgm:cxn modelId="{E12B34DE-372B-4E53-A12D-AC5E60DF5AF8}" type="presParOf" srcId="{0E5C99CB-8CFA-49D5-A73A-01608B8BF867}" destId="{DF963FF3-509C-4EB6-ADB3-2C257F7BFCEE}" srcOrd="3" destOrd="0" presId="urn:microsoft.com/office/officeart/2009/3/layout/SnapshotPictureList"/>
    <dgm:cxn modelId="{87EFEB9C-B575-419A-8218-DC6D1DDD3902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168175" custScaleY="226974" custLinFactNeighborY="-51949"/>
      <dgm:spPr/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B7980643-29EF-4A51-AFD2-E009C96B3EF0}" type="presOf" srcId="{AF16A61B-CACB-441B-8B4E-916A37A6FA8C}" destId="{4ADFCD1E-F86F-4980-949D-F2AA3FFA5232}" srcOrd="0" destOrd="0" presId="urn:microsoft.com/office/officeart/2009/3/layout/SnapshotPictureList"/>
    <dgm:cxn modelId="{1DDE66B5-6F9C-478F-A233-526C695E68BA}" type="presOf" srcId="{492659FD-171D-4B9B-8F01-EC8B9BFB8AF5}" destId="{25CD0F31-D6F4-43F1-986E-D2D05F4123CB}" srcOrd="0" destOrd="0" presId="urn:microsoft.com/office/officeart/2009/3/layout/SnapshotPictureList"/>
    <dgm:cxn modelId="{04274428-C4AA-4829-B2B1-EE019088ADD1}" type="presParOf" srcId="{4ADFCD1E-F86F-4980-949D-F2AA3FFA5232}" destId="{0E5C99CB-8CFA-49D5-A73A-01608B8BF867}" srcOrd="0" destOrd="0" presId="urn:microsoft.com/office/officeart/2009/3/layout/SnapshotPictureList"/>
    <dgm:cxn modelId="{95AD224A-7F0B-4BE8-97B1-F8AD909095E4}" type="presParOf" srcId="{0E5C99CB-8CFA-49D5-A73A-01608B8BF867}" destId="{3AE3D318-F4CD-468B-861E-A7E411945EC1}" srcOrd="0" destOrd="0" presId="urn:microsoft.com/office/officeart/2009/3/layout/SnapshotPictureList"/>
    <dgm:cxn modelId="{338F141B-E90C-4F62-8E89-08E8FB6886FF}" type="presParOf" srcId="{0E5C99CB-8CFA-49D5-A73A-01608B8BF867}" destId="{25CD0F31-D6F4-43F1-986E-D2D05F4123CB}" srcOrd="1" destOrd="0" presId="urn:microsoft.com/office/officeart/2009/3/layout/SnapshotPictureList"/>
    <dgm:cxn modelId="{22E86A99-A776-4813-B8FF-CBECC040428A}" type="presParOf" srcId="{0E5C99CB-8CFA-49D5-A73A-01608B8BF867}" destId="{C77FB5DD-B166-4F86-8CE7-3856C78F26B8}" srcOrd="2" destOrd="0" presId="urn:microsoft.com/office/officeart/2009/3/layout/SnapshotPictureList"/>
    <dgm:cxn modelId="{191D5E56-3F5C-4A84-B5A4-9354B6BA80FC}" type="presParOf" srcId="{0E5C99CB-8CFA-49D5-A73A-01608B8BF867}" destId="{DF963FF3-509C-4EB6-ADB3-2C257F7BFCEE}" srcOrd="3" destOrd="0" presId="urn:microsoft.com/office/officeart/2009/3/layout/SnapshotPictureList"/>
    <dgm:cxn modelId="{962D91CE-A682-4DC4-A493-D784898C2C54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51525" custScaleY="299360" custLinFactNeighborX="-184" custLinFactNeighborY="-15130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2000" r="-12000"/>
          </a:stretch>
        </a:blipFill>
      </dgm:spPr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1611F88F-17B6-44F6-A457-2D58D593A57B}" type="presOf" srcId="{AF16A61B-CACB-441B-8B4E-916A37A6FA8C}" destId="{4ADFCD1E-F86F-4980-949D-F2AA3FFA5232}" srcOrd="0" destOrd="0" presId="urn:microsoft.com/office/officeart/2009/3/layout/SnapshotPictureList"/>
    <dgm:cxn modelId="{7A935549-3FE5-44BF-A069-037F64764363}" type="presOf" srcId="{492659FD-171D-4B9B-8F01-EC8B9BFB8AF5}" destId="{25CD0F31-D6F4-43F1-986E-D2D05F4123CB}" srcOrd="0" destOrd="0" presId="urn:microsoft.com/office/officeart/2009/3/layout/SnapshotPictureList"/>
    <dgm:cxn modelId="{84F63123-B1BB-4783-8550-744EF6088421}" type="presParOf" srcId="{4ADFCD1E-F86F-4980-949D-F2AA3FFA5232}" destId="{0E5C99CB-8CFA-49D5-A73A-01608B8BF867}" srcOrd="0" destOrd="0" presId="urn:microsoft.com/office/officeart/2009/3/layout/SnapshotPictureList"/>
    <dgm:cxn modelId="{45570565-1062-4E23-AA49-71F325A284F8}" type="presParOf" srcId="{0E5C99CB-8CFA-49D5-A73A-01608B8BF867}" destId="{3AE3D318-F4CD-468B-861E-A7E411945EC1}" srcOrd="0" destOrd="0" presId="urn:microsoft.com/office/officeart/2009/3/layout/SnapshotPictureList"/>
    <dgm:cxn modelId="{0DD2FDC8-CA90-488E-8C58-38602779CAF3}" type="presParOf" srcId="{0E5C99CB-8CFA-49D5-A73A-01608B8BF867}" destId="{25CD0F31-D6F4-43F1-986E-D2D05F4123CB}" srcOrd="1" destOrd="0" presId="urn:microsoft.com/office/officeart/2009/3/layout/SnapshotPictureList"/>
    <dgm:cxn modelId="{E8ADF823-6FB0-4741-A323-77CA1434F813}" type="presParOf" srcId="{0E5C99CB-8CFA-49D5-A73A-01608B8BF867}" destId="{C77FB5DD-B166-4F86-8CE7-3856C78F26B8}" srcOrd="2" destOrd="0" presId="urn:microsoft.com/office/officeart/2009/3/layout/SnapshotPictureList"/>
    <dgm:cxn modelId="{39F449F5-8C0B-451D-9A2E-8AB1E8B9C0D8}" type="presParOf" srcId="{0E5C99CB-8CFA-49D5-A73A-01608B8BF867}" destId="{DF963FF3-509C-4EB6-ADB3-2C257F7BFCEE}" srcOrd="3" destOrd="0" presId="urn:microsoft.com/office/officeart/2009/3/layout/SnapshotPictureList"/>
    <dgm:cxn modelId="{B83E148A-86AE-4239-823B-9A76611D9FC2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28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44033" custScaleY="299360" custLinFactNeighborX="-10733" custLinFactNeighborY="-1427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</dgm:spPr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5178E514-0862-4352-9AEA-7C799371116B}" type="presOf" srcId="{492659FD-171D-4B9B-8F01-EC8B9BFB8AF5}" destId="{25CD0F31-D6F4-43F1-986E-D2D05F4123CB}" srcOrd="0" destOrd="0" presId="urn:microsoft.com/office/officeart/2009/3/layout/SnapshotPictureList"/>
    <dgm:cxn modelId="{6AEDDB83-E831-426A-A755-4BAF55CA3404}" type="presOf" srcId="{AF16A61B-CACB-441B-8B4E-916A37A6FA8C}" destId="{4ADFCD1E-F86F-4980-949D-F2AA3FFA5232}" srcOrd="0" destOrd="0" presId="urn:microsoft.com/office/officeart/2009/3/layout/SnapshotPictureList"/>
    <dgm:cxn modelId="{FDE54E3A-5058-460B-A180-52F7BC075A65}" type="presParOf" srcId="{4ADFCD1E-F86F-4980-949D-F2AA3FFA5232}" destId="{0E5C99CB-8CFA-49D5-A73A-01608B8BF867}" srcOrd="0" destOrd="0" presId="urn:microsoft.com/office/officeart/2009/3/layout/SnapshotPictureList"/>
    <dgm:cxn modelId="{C7F70627-8946-4009-A1C5-0E2009FB5A65}" type="presParOf" srcId="{0E5C99CB-8CFA-49D5-A73A-01608B8BF867}" destId="{3AE3D318-F4CD-468B-861E-A7E411945EC1}" srcOrd="0" destOrd="0" presId="urn:microsoft.com/office/officeart/2009/3/layout/SnapshotPictureList"/>
    <dgm:cxn modelId="{3CF76DE5-6C1A-4EE3-A2E0-C0610ED4875F}" type="presParOf" srcId="{0E5C99CB-8CFA-49D5-A73A-01608B8BF867}" destId="{25CD0F31-D6F4-43F1-986E-D2D05F4123CB}" srcOrd="1" destOrd="0" presId="urn:microsoft.com/office/officeart/2009/3/layout/SnapshotPictureList"/>
    <dgm:cxn modelId="{1DD5CED6-206D-4F6E-B97B-D9802DB0BC43}" type="presParOf" srcId="{0E5C99CB-8CFA-49D5-A73A-01608B8BF867}" destId="{C77FB5DD-B166-4F86-8CE7-3856C78F26B8}" srcOrd="2" destOrd="0" presId="urn:microsoft.com/office/officeart/2009/3/layout/SnapshotPictureList"/>
    <dgm:cxn modelId="{ADC8D849-9B0F-48DE-BC82-D5A82B36EB46}" type="presParOf" srcId="{0E5C99CB-8CFA-49D5-A73A-01608B8BF867}" destId="{DF963FF3-509C-4EB6-ADB3-2C257F7BFCEE}" srcOrd="3" destOrd="0" presId="urn:microsoft.com/office/officeart/2009/3/layout/SnapshotPictureList"/>
    <dgm:cxn modelId="{822E6399-6FC8-4B06-9932-B929E196E084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33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168175" custScaleY="226974" custLinFactNeighborY="-51949"/>
      <dgm:spPr/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52CB6E6A-3115-4ECF-90FE-DC90244F24C3}" type="presOf" srcId="{492659FD-171D-4B9B-8F01-EC8B9BFB8AF5}" destId="{25CD0F31-D6F4-43F1-986E-D2D05F4123CB}" srcOrd="0" destOrd="0" presId="urn:microsoft.com/office/officeart/2009/3/layout/SnapshotPictureList"/>
    <dgm:cxn modelId="{024C1354-0612-4E11-9C49-CB17329F2A66}" type="presOf" srcId="{AF16A61B-CACB-441B-8B4E-916A37A6FA8C}" destId="{4ADFCD1E-F86F-4980-949D-F2AA3FFA5232}" srcOrd="0" destOrd="0" presId="urn:microsoft.com/office/officeart/2009/3/layout/SnapshotPictureList"/>
    <dgm:cxn modelId="{CB817486-0624-4E28-BE87-0D9A11CBC6B5}" type="presParOf" srcId="{4ADFCD1E-F86F-4980-949D-F2AA3FFA5232}" destId="{0E5C99CB-8CFA-49D5-A73A-01608B8BF867}" srcOrd="0" destOrd="0" presId="urn:microsoft.com/office/officeart/2009/3/layout/SnapshotPictureList"/>
    <dgm:cxn modelId="{595222AB-6308-40AE-8189-E3F60B12E415}" type="presParOf" srcId="{0E5C99CB-8CFA-49D5-A73A-01608B8BF867}" destId="{3AE3D318-F4CD-468B-861E-A7E411945EC1}" srcOrd="0" destOrd="0" presId="urn:microsoft.com/office/officeart/2009/3/layout/SnapshotPictureList"/>
    <dgm:cxn modelId="{C03C1DEC-BB29-4E44-A88A-F343FA6D8E51}" type="presParOf" srcId="{0E5C99CB-8CFA-49D5-A73A-01608B8BF867}" destId="{25CD0F31-D6F4-43F1-986E-D2D05F4123CB}" srcOrd="1" destOrd="0" presId="urn:microsoft.com/office/officeart/2009/3/layout/SnapshotPictureList"/>
    <dgm:cxn modelId="{E6291653-409F-4397-8A15-294A81B7850D}" type="presParOf" srcId="{0E5C99CB-8CFA-49D5-A73A-01608B8BF867}" destId="{C77FB5DD-B166-4F86-8CE7-3856C78F26B8}" srcOrd="2" destOrd="0" presId="urn:microsoft.com/office/officeart/2009/3/layout/SnapshotPictureList"/>
    <dgm:cxn modelId="{0AD51B89-D864-4619-9849-71247379F054}" type="presParOf" srcId="{0E5C99CB-8CFA-49D5-A73A-01608B8BF867}" destId="{DF963FF3-509C-4EB6-ADB3-2C257F7BFCEE}" srcOrd="3" destOrd="0" presId="urn:microsoft.com/office/officeart/2009/3/layout/SnapshotPictureList"/>
    <dgm:cxn modelId="{2B61A40B-2AFC-4FB7-B7F1-4B94A88CDF9F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168175" custScaleY="226974" custLinFactNeighborY="-51949"/>
      <dgm:spPr/>
      <dgm:t>
        <a:bodyPr/>
        <a:lstStyle/>
        <a:p>
          <a:endParaRPr lang="pt-BR"/>
        </a:p>
      </dgm:t>
    </dgm:pt>
  </dgm:ptLst>
  <dgm:cxnLst>
    <dgm:cxn modelId="{4D63DFA3-C304-4767-9A51-E2532F6FEAB4}" type="presOf" srcId="{492659FD-171D-4B9B-8F01-EC8B9BFB8AF5}" destId="{25CD0F31-D6F4-43F1-986E-D2D05F4123CB}" srcOrd="0" destOrd="0" presId="urn:microsoft.com/office/officeart/2009/3/layout/SnapshotPictureList"/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95BB5DAF-5706-423E-9F3E-1516818607C2}" type="presOf" srcId="{AF16A61B-CACB-441B-8B4E-916A37A6FA8C}" destId="{4ADFCD1E-F86F-4980-949D-F2AA3FFA5232}" srcOrd="0" destOrd="0" presId="urn:microsoft.com/office/officeart/2009/3/layout/SnapshotPictureList"/>
    <dgm:cxn modelId="{71D73C58-84E0-48E0-BDB8-FD56DA75F29B}" type="presParOf" srcId="{4ADFCD1E-F86F-4980-949D-F2AA3FFA5232}" destId="{0E5C99CB-8CFA-49D5-A73A-01608B8BF867}" srcOrd="0" destOrd="0" presId="urn:microsoft.com/office/officeart/2009/3/layout/SnapshotPictureList"/>
    <dgm:cxn modelId="{5C1FA0A0-FE38-4034-9252-B5BF98769729}" type="presParOf" srcId="{0E5C99CB-8CFA-49D5-A73A-01608B8BF867}" destId="{3AE3D318-F4CD-468B-861E-A7E411945EC1}" srcOrd="0" destOrd="0" presId="urn:microsoft.com/office/officeart/2009/3/layout/SnapshotPictureList"/>
    <dgm:cxn modelId="{E5C5AC8F-E044-4B78-ACFD-8F89980E268E}" type="presParOf" srcId="{0E5C99CB-8CFA-49D5-A73A-01608B8BF867}" destId="{25CD0F31-D6F4-43F1-986E-D2D05F4123CB}" srcOrd="1" destOrd="0" presId="urn:microsoft.com/office/officeart/2009/3/layout/SnapshotPictureList"/>
    <dgm:cxn modelId="{51D6C9C0-8DCA-47ED-84A7-C591E535BFF5}" type="presParOf" srcId="{0E5C99CB-8CFA-49D5-A73A-01608B8BF867}" destId="{C77FB5DD-B166-4F86-8CE7-3856C78F26B8}" srcOrd="2" destOrd="0" presId="urn:microsoft.com/office/officeart/2009/3/layout/SnapshotPictureList"/>
    <dgm:cxn modelId="{4CA001A8-3318-41D1-95BB-37157D22ABDA}" type="presParOf" srcId="{0E5C99CB-8CFA-49D5-A73A-01608B8BF867}" destId="{DF963FF3-509C-4EB6-ADB3-2C257F7BFCEE}" srcOrd="3" destOrd="0" presId="urn:microsoft.com/office/officeart/2009/3/layout/SnapshotPictureList"/>
    <dgm:cxn modelId="{421B9977-664D-4602-9A65-E18F26E440EE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4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53004" custScaleY="315796" custLinFactNeighborY="-51949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819B499F-311E-47FF-B6C2-8B95DD0F0C1F}" type="presOf" srcId="{492659FD-171D-4B9B-8F01-EC8B9BFB8AF5}" destId="{25CD0F31-D6F4-43F1-986E-D2D05F4123CB}" srcOrd="0" destOrd="0" presId="urn:microsoft.com/office/officeart/2009/3/layout/SnapshotPictureList"/>
    <dgm:cxn modelId="{786E3991-CEFA-4614-B8B5-621DA888C127}" type="presOf" srcId="{AF16A61B-CACB-441B-8B4E-916A37A6FA8C}" destId="{4ADFCD1E-F86F-4980-949D-F2AA3FFA5232}" srcOrd="0" destOrd="0" presId="urn:microsoft.com/office/officeart/2009/3/layout/SnapshotPictureList"/>
    <dgm:cxn modelId="{4C1610E5-3142-47C2-8508-756E5A05D8FA}" type="presParOf" srcId="{4ADFCD1E-F86F-4980-949D-F2AA3FFA5232}" destId="{0E5C99CB-8CFA-49D5-A73A-01608B8BF867}" srcOrd="0" destOrd="0" presId="urn:microsoft.com/office/officeart/2009/3/layout/SnapshotPictureList"/>
    <dgm:cxn modelId="{71052966-01F7-414E-93CB-32A496C7C546}" type="presParOf" srcId="{0E5C99CB-8CFA-49D5-A73A-01608B8BF867}" destId="{3AE3D318-F4CD-468B-861E-A7E411945EC1}" srcOrd="0" destOrd="0" presId="urn:microsoft.com/office/officeart/2009/3/layout/SnapshotPictureList"/>
    <dgm:cxn modelId="{8E696BBE-49AA-49B0-B835-E13DF4C1C7D7}" type="presParOf" srcId="{0E5C99CB-8CFA-49D5-A73A-01608B8BF867}" destId="{25CD0F31-D6F4-43F1-986E-D2D05F4123CB}" srcOrd="1" destOrd="0" presId="urn:microsoft.com/office/officeart/2009/3/layout/SnapshotPictureList"/>
    <dgm:cxn modelId="{5AF0E9AB-F8AA-404F-8E6E-36E30ACF5FE4}" type="presParOf" srcId="{0E5C99CB-8CFA-49D5-A73A-01608B8BF867}" destId="{C77FB5DD-B166-4F86-8CE7-3856C78F26B8}" srcOrd="2" destOrd="0" presId="urn:microsoft.com/office/officeart/2009/3/layout/SnapshotPictureList"/>
    <dgm:cxn modelId="{918B35C9-608E-44C6-93C2-9A46C7136582}" type="presParOf" srcId="{0E5C99CB-8CFA-49D5-A73A-01608B8BF867}" destId="{DF963FF3-509C-4EB6-ADB3-2C257F7BFCEE}" srcOrd="3" destOrd="0" presId="urn:microsoft.com/office/officeart/2009/3/layout/SnapshotPictureList"/>
    <dgm:cxn modelId="{2F2E9CF7-96CD-4A73-9854-80AB520B2FD9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5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42999" custScaleY="285237" custLinFactNeighborX="-14395" custLinFactNeighborY="-3824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6000" r="-16000"/>
          </a:stretch>
        </a:blipFill>
      </dgm:spPr>
      <dgm:t>
        <a:bodyPr/>
        <a:lstStyle/>
        <a:p>
          <a:endParaRPr lang="pt-BR"/>
        </a:p>
      </dgm:t>
    </dgm:pt>
  </dgm:ptLst>
  <dgm:cxnLst>
    <dgm:cxn modelId="{28512117-996F-4443-BB5C-AFB8D566F5A2}" type="presOf" srcId="{AF16A61B-CACB-441B-8B4E-916A37A6FA8C}" destId="{4ADFCD1E-F86F-4980-949D-F2AA3FFA5232}" srcOrd="0" destOrd="0" presId="urn:microsoft.com/office/officeart/2009/3/layout/SnapshotPictureList"/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0F06C43F-9D35-47D3-9C49-54BBF73E57FE}" type="presOf" srcId="{492659FD-171D-4B9B-8F01-EC8B9BFB8AF5}" destId="{25CD0F31-D6F4-43F1-986E-D2D05F4123CB}" srcOrd="0" destOrd="0" presId="urn:microsoft.com/office/officeart/2009/3/layout/SnapshotPictureList"/>
    <dgm:cxn modelId="{228D5F7D-6ADD-4B0D-A682-8B01B0982DC7}" type="presParOf" srcId="{4ADFCD1E-F86F-4980-949D-F2AA3FFA5232}" destId="{0E5C99CB-8CFA-49D5-A73A-01608B8BF867}" srcOrd="0" destOrd="0" presId="urn:microsoft.com/office/officeart/2009/3/layout/SnapshotPictureList"/>
    <dgm:cxn modelId="{0631A074-42C3-441B-8A8E-E692E0513317}" type="presParOf" srcId="{0E5C99CB-8CFA-49D5-A73A-01608B8BF867}" destId="{3AE3D318-F4CD-468B-861E-A7E411945EC1}" srcOrd="0" destOrd="0" presId="urn:microsoft.com/office/officeart/2009/3/layout/SnapshotPictureList"/>
    <dgm:cxn modelId="{674466FE-FA4F-499F-A718-9DF89517004D}" type="presParOf" srcId="{0E5C99CB-8CFA-49D5-A73A-01608B8BF867}" destId="{25CD0F31-D6F4-43F1-986E-D2D05F4123CB}" srcOrd="1" destOrd="0" presId="urn:microsoft.com/office/officeart/2009/3/layout/SnapshotPictureList"/>
    <dgm:cxn modelId="{812C65AE-5ABE-4400-8522-AF397197E8F2}" type="presParOf" srcId="{0E5C99CB-8CFA-49D5-A73A-01608B8BF867}" destId="{C77FB5DD-B166-4F86-8CE7-3856C78F26B8}" srcOrd="2" destOrd="0" presId="urn:microsoft.com/office/officeart/2009/3/layout/SnapshotPictureList"/>
    <dgm:cxn modelId="{F222CD4F-3D97-4939-ABDE-D61E8305F79C}" type="presParOf" srcId="{0E5C99CB-8CFA-49D5-A73A-01608B8BF867}" destId="{DF963FF3-509C-4EB6-ADB3-2C257F7BFCEE}" srcOrd="3" destOrd="0" presId="urn:microsoft.com/office/officeart/2009/3/layout/SnapshotPictureList"/>
    <dgm:cxn modelId="{4FDEF927-34B8-4398-816E-EE95280856E6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26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48977" custScaleY="299360" custLinFactNeighborX="-21633" custLinFactNeighborY="-2031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0AFF4A92-6881-4ED4-98DF-DE4A256C9A2C}" type="presOf" srcId="{AF16A61B-CACB-441B-8B4E-916A37A6FA8C}" destId="{4ADFCD1E-F86F-4980-949D-F2AA3FFA5232}" srcOrd="0" destOrd="0" presId="urn:microsoft.com/office/officeart/2009/3/layout/SnapshotPictureList"/>
    <dgm:cxn modelId="{9CE6D45F-3E6F-4D7B-9733-0625225F5F44}" type="presOf" srcId="{492659FD-171D-4B9B-8F01-EC8B9BFB8AF5}" destId="{25CD0F31-D6F4-43F1-986E-D2D05F4123CB}" srcOrd="0" destOrd="0" presId="urn:microsoft.com/office/officeart/2009/3/layout/SnapshotPictureList"/>
    <dgm:cxn modelId="{0B945E88-A506-465F-9CAF-0CA58058C850}" type="presParOf" srcId="{4ADFCD1E-F86F-4980-949D-F2AA3FFA5232}" destId="{0E5C99CB-8CFA-49D5-A73A-01608B8BF867}" srcOrd="0" destOrd="0" presId="urn:microsoft.com/office/officeart/2009/3/layout/SnapshotPictureList"/>
    <dgm:cxn modelId="{FCCAD3B6-C96D-4F92-9CB6-7B68C677F029}" type="presParOf" srcId="{0E5C99CB-8CFA-49D5-A73A-01608B8BF867}" destId="{3AE3D318-F4CD-468B-861E-A7E411945EC1}" srcOrd="0" destOrd="0" presId="urn:microsoft.com/office/officeart/2009/3/layout/SnapshotPictureList"/>
    <dgm:cxn modelId="{1213B77B-584F-4BED-9F57-6039D7727E18}" type="presParOf" srcId="{0E5C99CB-8CFA-49D5-A73A-01608B8BF867}" destId="{25CD0F31-D6F4-43F1-986E-D2D05F4123CB}" srcOrd="1" destOrd="0" presId="urn:microsoft.com/office/officeart/2009/3/layout/SnapshotPictureList"/>
    <dgm:cxn modelId="{84A718E6-FD3A-4CEF-8E8F-1A04A365DE5A}" type="presParOf" srcId="{0E5C99CB-8CFA-49D5-A73A-01608B8BF867}" destId="{C77FB5DD-B166-4F86-8CE7-3856C78F26B8}" srcOrd="2" destOrd="0" presId="urn:microsoft.com/office/officeart/2009/3/layout/SnapshotPictureList"/>
    <dgm:cxn modelId="{4F8406FB-B4EA-4D00-B87C-27DE0CD1A7C6}" type="presParOf" srcId="{0E5C99CB-8CFA-49D5-A73A-01608B8BF867}" destId="{DF963FF3-509C-4EB6-ADB3-2C257F7BFCEE}" srcOrd="3" destOrd="0" presId="urn:microsoft.com/office/officeart/2009/3/layout/SnapshotPictureList"/>
    <dgm:cxn modelId="{63FDA8FF-D1C1-4D45-8F4B-D1CD193C3AC1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ata27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51525" custScaleY="299360" custLinFactNeighborX="-184" custLinFactNeighborY="-15130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2000" r="-12000"/>
          </a:stretch>
        </a:blipFill>
      </dgm:spPr>
      <dgm:t>
        <a:bodyPr/>
        <a:lstStyle/>
        <a:p>
          <a:endParaRPr lang="pt-BR"/>
        </a:p>
      </dgm:t>
    </dgm:pt>
  </dgm:ptLst>
  <dgm:cxnLst>
    <dgm:cxn modelId="{4C9329F3-6A99-41D4-A62A-A15821C3F897}" type="presOf" srcId="{492659FD-171D-4B9B-8F01-EC8B9BFB8AF5}" destId="{25CD0F31-D6F4-43F1-986E-D2D05F4123CB}" srcOrd="0" destOrd="0" presId="urn:microsoft.com/office/officeart/2009/3/layout/SnapshotPictureList"/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11C87F78-59EB-40BF-9B29-4D753641F318}" type="presOf" srcId="{AF16A61B-CACB-441B-8B4E-916A37A6FA8C}" destId="{4ADFCD1E-F86F-4980-949D-F2AA3FFA5232}" srcOrd="0" destOrd="0" presId="urn:microsoft.com/office/officeart/2009/3/layout/SnapshotPictureList"/>
    <dgm:cxn modelId="{58CA025D-B2E3-4F48-BCB3-1047458391EF}" type="presParOf" srcId="{4ADFCD1E-F86F-4980-949D-F2AA3FFA5232}" destId="{0E5C99CB-8CFA-49D5-A73A-01608B8BF867}" srcOrd="0" destOrd="0" presId="urn:microsoft.com/office/officeart/2009/3/layout/SnapshotPictureList"/>
    <dgm:cxn modelId="{0E4599D9-ED00-4277-A31C-2CDE8DF2B155}" type="presParOf" srcId="{0E5C99CB-8CFA-49D5-A73A-01608B8BF867}" destId="{3AE3D318-F4CD-468B-861E-A7E411945EC1}" srcOrd="0" destOrd="0" presId="urn:microsoft.com/office/officeart/2009/3/layout/SnapshotPictureList"/>
    <dgm:cxn modelId="{E9E7C31C-3027-45DD-AE71-CAC70AA10769}" type="presParOf" srcId="{0E5C99CB-8CFA-49D5-A73A-01608B8BF867}" destId="{25CD0F31-D6F4-43F1-986E-D2D05F4123CB}" srcOrd="1" destOrd="0" presId="urn:microsoft.com/office/officeart/2009/3/layout/SnapshotPictureList"/>
    <dgm:cxn modelId="{326A2057-00A0-4C5B-9E09-8159B46E4FAE}" type="presParOf" srcId="{0E5C99CB-8CFA-49D5-A73A-01608B8BF867}" destId="{C77FB5DD-B166-4F86-8CE7-3856C78F26B8}" srcOrd="2" destOrd="0" presId="urn:microsoft.com/office/officeart/2009/3/layout/SnapshotPictureList"/>
    <dgm:cxn modelId="{8116D68E-263E-4864-A90F-90F4FE4B9A24}" type="presParOf" srcId="{0E5C99CB-8CFA-49D5-A73A-01608B8BF867}" destId="{DF963FF3-509C-4EB6-ADB3-2C257F7BFCEE}" srcOrd="3" destOrd="0" presId="urn:microsoft.com/office/officeart/2009/3/layout/SnapshotPictureList"/>
    <dgm:cxn modelId="{F949717F-249F-4723-A072-FDE96538CA40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28" minVer="http://schemas.openxmlformats.org/drawingml/2006/diagram"/>
    </a:ext>
  </dgm:extLst>
</dgm:dataModel>
</file>

<file path=ppt/diagrams/data28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44033" custScaleY="299360" custLinFactNeighborX="-10733" custLinFactNeighborY="-1427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</dgm:spPr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6C74C6A8-BF63-42FF-96D0-93C8CD082581}" type="presOf" srcId="{AF16A61B-CACB-441B-8B4E-916A37A6FA8C}" destId="{4ADFCD1E-F86F-4980-949D-F2AA3FFA5232}" srcOrd="0" destOrd="0" presId="urn:microsoft.com/office/officeart/2009/3/layout/SnapshotPictureList"/>
    <dgm:cxn modelId="{A5F5A4F2-6B65-48D4-9286-58919ADEE67A}" type="presOf" srcId="{492659FD-171D-4B9B-8F01-EC8B9BFB8AF5}" destId="{25CD0F31-D6F4-43F1-986E-D2D05F4123CB}" srcOrd="0" destOrd="0" presId="urn:microsoft.com/office/officeart/2009/3/layout/SnapshotPictureList"/>
    <dgm:cxn modelId="{0F34E821-EDD6-4A6C-A606-47A0D6995702}" type="presParOf" srcId="{4ADFCD1E-F86F-4980-949D-F2AA3FFA5232}" destId="{0E5C99CB-8CFA-49D5-A73A-01608B8BF867}" srcOrd="0" destOrd="0" presId="urn:microsoft.com/office/officeart/2009/3/layout/SnapshotPictureList"/>
    <dgm:cxn modelId="{A94B5DB5-6338-4B45-A123-1443F06555E5}" type="presParOf" srcId="{0E5C99CB-8CFA-49D5-A73A-01608B8BF867}" destId="{3AE3D318-F4CD-468B-861E-A7E411945EC1}" srcOrd="0" destOrd="0" presId="urn:microsoft.com/office/officeart/2009/3/layout/SnapshotPictureList"/>
    <dgm:cxn modelId="{6B91B339-39BC-4489-843B-85D97012F8EA}" type="presParOf" srcId="{0E5C99CB-8CFA-49D5-A73A-01608B8BF867}" destId="{25CD0F31-D6F4-43F1-986E-D2D05F4123CB}" srcOrd="1" destOrd="0" presId="urn:microsoft.com/office/officeart/2009/3/layout/SnapshotPictureList"/>
    <dgm:cxn modelId="{40C4DC0B-D1A7-4CEA-9B55-1D379910D4F3}" type="presParOf" srcId="{0E5C99CB-8CFA-49D5-A73A-01608B8BF867}" destId="{C77FB5DD-B166-4F86-8CE7-3856C78F26B8}" srcOrd="2" destOrd="0" presId="urn:microsoft.com/office/officeart/2009/3/layout/SnapshotPictureList"/>
    <dgm:cxn modelId="{47E491E8-A986-4021-B8BF-2FE5EADE839E}" type="presParOf" srcId="{0E5C99CB-8CFA-49D5-A73A-01608B8BF867}" destId="{DF963FF3-509C-4EB6-ADB3-2C257F7BFCEE}" srcOrd="3" destOrd="0" presId="urn:microsoft.com/office/officeart/2009/3/layout/SnapshotPictureList"/>
    <dgm:cxn modelId="{FCD013AF-F214-4AE0-A116-A4D578D84DFB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33" minVer="http://schemas.openxmlformats.org/drawingml/2006/diagram"/>
    </a:ext>
  </dgm:extLst>
</dgm:dataModel>
</file>

<file path=ppt/diagrams/data29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168175" custScaleY="226974" custLinFactNeighborY="-51949"/>
      <dgm:spPr/>
      <dgm:t>
        <a:bodyPr/>
        <a:lstStyle/>
        <a:p>
          <a:endParaRPr lang="pt-BR"/>
        </a:p>
      </dgm:t>
    </dgm:pt>
  </dgm:ptLst>
  <dgm:cxnLst>
    <dgm:cxn modelId="{A6FF70C7-2791-47B9-ACAF-526844F95CAF}" type="presOf" srcId="{AF16A61B-CACB-441B-8B4E-916A37A6FA8C}" destId="{4ADFCD1E-F86F-4980-949D-F2AA3FFA5232}" srcOrd="0" destOrd="0" presId="urn:microsoft.com/office/officeart/2009/3/layout/SnapshotPictureList"/>
    <dgm:cxn modelId="{77015B98-3720-4D5D-8DCE-CCCC86B209FF}" type="presOf" srcId="{492659FD-171D-4B9B-8F01-EC8B9BFB8AF5}" destId="{25CD0F31-D6F4-43F1-986E-D2D05F4123CB}" srcOrd="0" destOrd="0" presId="urn:microsoft.com/office/officeart/2009/3/layout/SnapshotPictureList"/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CD896744-5B9A-431A-AB95-558581F16BB4}" type="presParOf" srcId="{4ADFCD1E-F86F-4980-949D-F2AA3FFA5232}" destId="{0E5C99CB-8CFA-49D5-A73A-01608B8BF867}" srcOrd="0" destOrd="0" presId="urn:microsoft.com/office/officeart/2009/3/layout/SnapshotPictureList"/>
    <dgm:cxn modelId="{01DD3B6F-EE2A-4A3B-8923-D35D46D491A7}" type="presParOf" srcId="{0E5C99CB-8CFA-49D5-A73A-01608B8BF867}" destId="{3AE3D318-F4CD-468B-861E-A7E411945EC1}" srcOrd="0" destOrd="0" presId="urn:microsoft.com/office/officeart/2009/3/layout/SnapshotPictureList"/>
    <dgm:cxn modelId="{581BB700-2B78-48ED-B37A-0ED88439ACE8}" type="presParOf" srcId="{0E5C99CB-8CFA-49D5-A73A-01608B8BF867}" destId="{25CD0F31-D6F4-43F1-986E-D2D05F4123CB}" srcOrd="1" destOrd="0" presId="urn:microsoft.com/office/officeart/2009/3/layout/SnapshotPictureList"/>
    <dgm:cxn modelId="{E08E0D2A-0F11-422B-A104-21659192E8B8}" type="presParOf" srcId="{0E5C99CB-8CFA-49D5-A73A-01608B8BF867}" destId="{C77FB5DD-B166-4F86-8CE7-3856C78F26B8}" srcOrd="2" destOrd="0" presId="urn:microsoft.com/office/officeart/2009/3/layout/SnapshotPictureList"/>
    <dgm:cxn modelId="{E89B433E-4BD5-4737-B6B3-217EBFC37D98}" type="presParOf" srcId="{0E5C99CB-8CFA-49D5-A73A-01608B8BF867}" destId="{DF963FF3-509C-4EB6-ADB3-2C257F7BFCEE}" srcOrd="3" destOrd="0" presId="urn:microsoft.com/office/officeart/2009/3/layout/SnapshotPictureList"/>
    <dgm:cxn modelId="{91F50B2E-A84F-4C1B-820A-3AB13BFC0928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53004" custScaleY="315796" custLinFactNeighborY="-51949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  <dgm:t>
        <a:bodyPr/>
        <a:lstStyle/>
        <a:p>
          <a:endParaRPr lang="pt-BR"/>
        </a:p>
      </dgm:t>
    </dgm:pt>
  </dgm:ptLst>
  <dgm:cxnLst>
    <dgm:cxn modelId="{786DA17C-7694-4B7C-A6DE-65F1EAA24FA8}" type="presOf" srcId="{492659FD-171D-4B9B-8F01-EC8B9BFB8AF5}" destId="{25CD0F31-D6F4-43F1-986E-D2D05F4123CB}" srcOrd="0" destOrd="0" presId="urn:microsoft.com/office/officeart/2009/3/layout/SnapshotPictureList"/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17B54626-F9FA-46D8-A3AE-86854F7BCD35}" type="presOf" srcId="{AF16A61B-CACB-441B-8B4E-916A37A6FA8C}" destId="{4ADFCD1E-F86F-4980-949D-F2AA3FFA5232}" srcOrd="0" destOrd="0" presId="urn:microsoft.com/office/officeart/2009/3/layout/SnapshotPictureList"/>
    <dgm:cxn modelId="{81460960-5A65-4024-AB42-00048C9794B5}" type="presParOf" srcId="{4ADFCD1E-F86F-4980-949D-F2AA3FFA5232}" destId="{0E5C99CB-8CFA-49D5-A73A-01608B8BF867}" srcOrd="0" destOrd="0" presId="urn:microsoft.com/office/officeart/2009/3/layout/SnapshotPictureList"/>
    <dgm:cxn modelId="{E1160658-697E-4733-BEC9-23C22FC720D1}" type="presParOf" srcId="{0E5C99CB-8CFA-49D5-A73A-01608B8BF867}" destId="{3AE3D318-F4CD-468B-861E-A7E411945EC1}" srcOrd="0" destOrd="0" presId="urn:microsoft.com/office/officeart/2009/3/layout/SnapshotPictureList"/>
    <dgm:cxn modelId="{7BAEA11A-1FE6-4C3B-AEF7-308DD54A812A}" type="presParOf" srcId="{0E5C99CB-8CFA-49D5-A73A-01608B8BF867}" destId="{25CD0F31-D6F4-43F1-986E-D2D05F4123CB}" srcOrd="1" destOrd="0" presId="urn:microsoft.com/office/officeart/2009/3/layout/SnapshotPictureList"/>
    <dgm:cxn modelId="{72593FED-41B2-4ED8-9A21-345FE5B4BB9B}" type="presParOf" srcId="{0E5C99CB-8CFA-49D5-A73A-01608B8BF867}" destId="{C77FB5DD-B166-4F86-8CE7-3856C78F26B8}" srcOrd="2" destOrd="0" presId="urn:microsoft.com/office/officeart/2009/3/layout/SnapshotPictureList"/>
    <dgm:cxn modelId="{F79B9084-BEAF-4057-9DB8-B2D51C60C347}" type="presParOf" srcId="{0E5C99CB-8CFA-49D5-A73A-01608B8BF867}" destId="{DF963FF3-509C-4EB6-ADB3-2C257F7BFCEE}" srcOrd="3" destOrd="0" presId="urn:microsoft.com/office/officeart/2009/3/layout/SnapshotPictureList"/>
    <dgm:cxn modelId="{42E57917-DE39-43C4-836F-12051540DBAA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0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168175" custScaleY="226974" custLinFactNeighborY="-51949"/>
      <dgm:spPr/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01013F4B-6400-48CB-B111-C829C7399D42}" type="presOf" srcId="{492659FD-171D-4B9B-8F01-EC8B9BFB8AF5}" destId="{25CD0F31-D6F4-43F1-986E-D2D05F4123CB}" srcOrd="0" destOrd="0" presId="urn:microsoft.com/office/officeart/2009/3/layout/SnapshotPictureList"/>
    <dgm:cxn modelId="{FFD058AA-3FC3-4885-968B-9FBE1699B853}" type="presOf" srcId="{AF16A61B-CACB-441B-8B4E-916A37A6FA8C}" destId="{4ADFCD1E-F86F-4980-949D-F2AA3FFA5232}" srcOrd="0" destOrd="0" presId="urn:microsoft.com/office/officeart/2009/3/layout/SnapshotPictureList"/>
    <dgm:cxn modelId="{1DF49CCA-5EB1-4AF8-930F-A9F019ACBE5F}" type="presParOf" srcId="{4ADFCD1E-F86F-4980-949D-F2AA3FFA5232}" destId="{0E5C99CB-8CFA-49D5-A73A-01608B8BF867}" srcOrd="0" destOrd="0" presId="urn:microsoft.com/office/officeart/2009/3/layout/SnapshotPictureList"/>
    <dgm:cxn modelId="{09168BA4-05AA-47A7-AAEA-379EBD8E9CEF}" type="presParOf" srcId="{0E5C99CB-8CFA-49D5-A73A-01608B8BF867}" destId="{3AE3D318-F4CD-468B-861E-A7E411945EC1}" srcOrd="0" destOrd="0" presId="urn:microsoft.com/office/officeart/2009/3/layout/SnapshotPictureList"/>
    <dgm:cxn modelId="{5D94CBA6-4298-44A6-A3D4-FC4B6F0B4F58}" type="presParOf" srcId="{0E5C99CB-8CFA-49D5-A73A-01608B8BF867}" destId="{25CD0F31-D6F4-43F1-986E-D2D05F4123CB}" srcOrd="1" destOrd="0" presId="urn:microsoft.com/office/officeart/2009/3/layout/SnapshotPictureList"/>
    <dgm:cxn modelId="{2616E8D8-FF6A-431A-8021-B14EA9445039}" type="presParOf" srcId="{0E5C99CB-8CFA-49D5-A73A-01608B8BF867}" destId="{C77FB5DD-B166-4F86-8CE7-3856C78F26B8}" srcOrd="2" destOrd="0" presId="urn:microsoft.com/office/officeart/2009/3/layout/SnapshotPictureList"/>
    <dgm:cxn modelId="{008D5FEE-DAF5-4A70-828A-6A4CDC311411}" type="presParOf" srcId="{0E5C99CB-8CFA-49D5-A73A-01608B8BF867}" destId="{DF963FF3-509C-4EB6-ADB3-2C257F7BFCEE}" srcOrd="3" destOrd="0" presId="urn:microsoft.com/office/officeart/2009/3/layout/SnapshotPictureList"/>
    <dgm:cxn modelId="{C5972A84-7CC3-4B5D-8A59-FB9F79F5BEA9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1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168175" custScaleY="226974" custLinFactNeighborY="-51949"/>
      <dgm:spPr/>
      <dgm:t>
        <a:bodyPr/>
        <a:lstStyle/>
        <a:p>
          <a:endParaRPr lang="pt-BR"/>
        </a:p>
      </dgm:t>
    </dgm:pt>
  </dgm:ptLst>
  <dgm:cxnLst>
    <dgm:cxn modelId="{74402291-2B27-4590-8083-421D64613C9C}" type="presOf" srcId="{AF16A61B-CACB-441B-8B4E-916A37A6FA8C}" destId="{4ADFCD1E-F86F-4980-949D-F2AA3FFA5232}" srcOrd="0" destOrd="0" presId="urn:microsoft.com/office/officeart/2009/3/layout/SnapshotPictureList"/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D614186B-8529-4345-97B7-71500F40CC0C}" type="presOf" srcId="{492659FD-171D-4B9B-8F01-EC8B9BFB8AF5}" destId="{25CD0F31-D6F4-43F1-986E-D2D05F4123CB}" srcOrd="0" destOrd="0" presId="urn:microsoft.com/office/officeart/2009/3/layout/SnapshotPictureList"/>
    <dgm:cxn modelId="{29AF219C-E7C9-4BF5-A103-8D1F90D2EBB1}" type="presParOf" srcId="{4ADFCD1E-F86F-4980-949D-F2AA3FFA5232}" destId="{0E5C99CB-8CFA-49D5-A73A-01608B8BF867}" srcOrd="0" destOrd="0" presId="urn:microsoft.com/office/officeart/2009/3/layout/SnapshotPictureList"/>
    <dgm:cxn modelId="{C3896C07-1C96-447B-8524-5DEFDD246B93}" type="presParOf" srcId="{0E5C99CB-8CFA-49D5-A73A-01608B8BF867}" destId="{3AE3D318-F4CD-468B-861E-A7E411945EC1}" srcOrd="0" destOrd="0" presId="urn:microsoft.com/office/officeart/2009/3/layout/SnapshotPictureList"/>
    <dgm:cxn modelId="{4D25F637-6566-4384-A351-549B18985506}" type="presParOf" srcId="{0E5C99CB-8CFA-49D5-A73A-01608B8BF867}" destId="{25CD0F31-D6F4-43F1-986E-D2D05F4123CB}" srcOrd="1" destOrd="0" presId="urn:microsoft.com/office/officeart/2009/3/layout/SnapshotPictureList"/>
    <dgm:cxn modelId="{A84D11D7-5746-4AD1-B28D-7B00725020B7}" type="presParOf" srcId="{0E5C99CB-8CFA-49D5-A73A-01608B8BF867}" destId="{C77FB5DD-B166-4F86-8CE7-3856C78F26B8}" srcOrd="2" destOrd="0" presId="urn:microsoft.com/office/officeart/2009/3/layout/SnapshotPictureList"/>
    <dgm:cxn modelId="{2E1D89A1-DA82-4746-9BC4-828197E3B293}" type="presParOf" srcId="{0E5C99CB-8CFA-49D5-A73A-01608B8BF867}" destId="{DF963FF3-509C-4EB6-ADB3-2C257F7BFCEE}" srcOrd="3" destOrd="0" presId="urn:microsoft.com/office/officeart/2009/3/layout/SnapshotPictureList"/>
    <dgm:cxn modelId="{979B5A81-34B8-4397-B2F9-DFDA1C2F03AC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2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53004" custScaleY="315796" custLinFactNeighborY="-51949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D93444DC-16AE-40A5-A81D-E595F5732952}" type="presOf" srcId="{AF16A61B-CACB-441B-8B4E-916A37A6FA8C}" destId="{4ADFCD1E-F86F-4980-949D-F2AA3FFA5232}" srcOrd="0" destOrd="0" presId="urn:microsoft.com/office/officeart/2009/3/layout/SnapshotPictureList"/>
    <dgm:cxn modelId="{1D57CD8D-9018-4883-AD9F-3AD01CDDD107}" type="presOf" srcId="{492659FD-171D-4B9B-8F01-EC8B9BFB8AF5}" destId="{25CD0F31-D6F4-43F1-986E-D2D05F4123CB}" srcOrd="0" destOrd="0" presId="urn:microsoft.com/office/officeart/2009/3/layout/SnapshotPictureList"/>
    <dgm:cxn modelId="{C7AB2E77-3A7E-45C3-B24F-D9E70E5C6D91}" type="presParOf" srcId="{4ADFCD1E-F86F-4980-949D-F2AA3FFA5232}" destId="{0E5C99CB-8CFA-49D5-A73A-01608B8BF867}" srcOrd="0" destOrd="0" presId="urn:microsoft.com/office/officeart/2009/3/layout/SnapshotPictureList"/>
    <dgm:cxn modelId="{2BDE2E04-07D3-488F-91C2-7F1337FE8D93}" type="presParOf" srcId="{0E5C99CB-8CFA-49D5-A73A-01608B8BF867}" destId="{3AE3D318-F4CD-468B-861E-A7E411945EC1}" srcOrd="0" destOrd="0" presId="urn:microsoft.com/office/officeart/2009/3/layout/SnapshotPictureList"/>
    <dgm:cxn modelId="{DEE5D98C-58B6-4B8F-B286-1FD75342687A}" type="presParOf" srcId="{0E5C99CB-8CFA-49D5-A73A-01608B8BF867}" destId="{25CD0F31-D6F4-43F1-986E-D2D05F4123CB}" srcOrd="1" destOrd="0" presId="urn:microsoft.com/office/officeart/2009/3/layout/SnapshotPictureList"/>
    <dgm:cxn modelId="{F35AA85E-469F-43C6-9121-2D7FD073ECC4}" type="presParOf" srcId="{0E5C99CB-8CFA-49D5-A73A-01608B8BF867}" destId="{C77FB5DD-B166-4F86-8CE7-3856C78F26B8}" srcOrd="2" destOrd="0" presId="urn:microsoft.com/office/officeart/2009/3/layout/SnapshotPictureList"/>
    <dgm:cxn modelId="{2AEDB3AE-5075-419B-B914-104C9112CE85}" type="presParOf" srcId="{0E5C99CB-8CFA-49D5-A73A-01608B8BF867}" destId="{DF963FF3-509C-4EB6-ADB3-2C257F7BFCEE}" srcOrd="3" destOrd="0" presId="urn:microsoft.com/office/officeart/2009/3/layout/SnapshotPictureList"/>
    <dgm:cxn modelId="{046FB064-7A3A-4D95-BF0C-A20CB89CBB50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3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42999" custScaleY="285237" custLinFactNeighborX="-14395" custLinFactNeighborY="-3824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6000" r="-16000"/>
          </a:stretch>
        </a:blipFill>
      </dgm:spPr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D56256C2-22F3-42DE-BDBA-16A0D81588EC}" type="presOf" srcId="{492659FD-171D-4B9B-8F01-EC8B9BFB8AF5}" destId="{25CD0F31-D6F4-43F1-986E-D2D05F4123CB}" srcOrd="0" destOrd="0" presId="urn:microsoft.com/office/officeart/2009/3/layout/SnapshotPictureList"/>
    <dgm:cxn modelId="{11A67FAE-E3F6-4CCE-A240-D07142226254}" type="presOf" srcId="{AF16A61B-CACB-441B-8B4E-916A37A6FA8C}" destId="{4ADFCD1E-F86F-4980-949D-F2AA3FFA5232}" srcOrd="0" destOrd="0" presId="urn:microsoft.com/office/officeart/2009/3/layout/SnapshotPictureList"/>
    <dgm:cxn modelId="{29FE1BBD-4E76-47B5-A108-13B13D8C5DC1}" type="presParOf" srcId="{4ADFCD1E-F86F-4980-949D-F2AA3FFA5232}" destId="{0E5C99CB-8CFA-49D5-A73A-01608B8BF867}" srcOrd="0" destOrd="0" presId="urn:microsoft.com/office/officeart/2009/3/layout/SnapshotPictureList"/>
    <dgm:cxn modelId="{E742D564-9D1B-4900-AC1A-11A4FE0CD1C5}" type="presParOf" srcId="{0E5C99CB-8CFA-49D5-A73A-01608B8BF867}" destId="{3AE3D318-F4CD-468B-861E-A7E411945EC1}" srcOrd="0" destOrd="0" presId="urn:microsoft.com/office/officeart/2009/3/layout/SnapshotPictureList"/>
    <dgm:cxn modelId="{27864693-36D5-4401-A316-6EAC29B879F5}" type="presParOf" srcId="{0E5C99CB-8CFA-49D5-A73A-01608B8BF867}" destId="{25CD0F31-D6F4-43F1-986E-D2D05F4123CB}" srcOrd="1" destOrd="0" presId="urn:microsoft.com/office/officeart/2009/3/layout/SnapshotPictureList"/>
    <dgm:cxn modelId="{49CE1E02-D6B5-4172-B2AA-1E97F473CAFF}" type="presParOf" srcId="{0E5C99CB-8CFA-49D5-A73A-01608B8BF867}" destId="{C77FB5DD-B166-4F86-8CE7-3856C78F26B8}" srcOrd="2" destOrd="0" presId="urn:microsoft.com/office/officeart/2009/3/layout/SnapshotPictureList"/>
    <dgm:cxn modelId="{1F724B66-71D4-4B34-B5C1-3CF646F8EFEB}" type="presParOf" srcId="{0E5C99CB-8CFA-49D5-A73A-01608B8BF867}" destId="{DF963FF3-509C-4EB6-ADB3-2C257F7BFCEE}" srcOrd="3" destOrd="0" presId="urn:microsoft.com/office/officeart/2009/3/layout/SnapshotPictureList"/>
    <dgm:cxn modelId="{9012CD94-9651-480E-B190-19A0D2754870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34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48977" custScaleY="299360" custLinFactNeighborX="-21633" custLinFactNeighborY="-2031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  <dgm:t>
        <a:bodyPr/>
        <a:lstStyle/>
        <a:p>
          <a:endParaRPr lang="pt-BR"/>
        </a:p>
      </dgm:t>
    </dgm:pt>
  </dgm:ptLst>
  <dgm:cxnLst>
    <dgm:cxn modelId="{4052C7E5-C2EF-40FA-B584-096652E0CE03}" type="presOf" srcId="{492659FD-171D-4B9B-8F01-EC8B9BFB8AF5}" destId="{25CD0F31-D6F4-43F1-986E-D2D05F4123CB}" srcOrd="0" destOrd="0" presId="urn:microsoft.com/office/officeart/2009/3/layout/SnapshotPictureList"/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13A90F14-C5B4-44C2-A4BE-23C238125251}" type="presOf" srcId="{AF16A61B-CACB-441B-8B4E-916A37A6FA8C}" destId="{4ADFCD1E-F86F-4980-949D-F2AA3FFA5232}" srcOrd="0" destOrd="0" presId="urn:microsoft.com/office/officeart/2009/3/layout/SnapshotPictureList"/>
    <dgm:cxn modelId="{BA8F72A9-448C-4240-A04D-642C6A0E17ED}" type="presParOf" srcId="{4ADFCD1E-F86F-4980-949D-F2AA3FFA5232}" destId="{0E5C99CB-8CFA-49D5-A73A-01608B8BF867}" srcOrd="0" destOrd="0" presId="urn:microsoft.com/office/officeart/2009/3/layout/SnapshotPictureList"/>
    <dgm:cxn modelId="{46B6BBD2-6557-4139-B23C-BF8CF9109B1D}" type="presParOf" srcId="{0E5C99CB-8CFA-49D5-A73A-01608B8BF867}" destId="{3AE3D318-F4CD-468B-861E-A7E411945EC1}" srcOrd="0" destOrd="0" presId="urn:microsoft.com/office/officeart/2009/3/layout/SnapshotPictureList"/>
    <dgm:cxn modelId="{4E5077CC-5077-48EF-AC29-6D10A4C46804}" type="presParOf" srcId="{0E5C99CB-8CFA-49D5-A73A-01608B8BF867}" destId="{25CD0F31-D6F4-43F1-986E-D2D05F4123CB}" srcOrd="1" destOrd="0" presId="urn:microsoft.com/office/officeart/2009/3/layout/SnapshotPictureList"/>
    <dgm:cxn modelId="{57AF38B7-7A49-4FA3-A785-CD95F7DC6F6E}" type="presParOf" srcId="{0E5C99CB-8CFA-49D5-A73A-01608B8BF867}" destId="{C77FB5DD-B166-4F86-8CE7-3856C78F26B8}" srcOrd="2" destOrd="0" presId="urn:microsoft.com/office/officeart/2009/3/layout/SnapshotPictureList"/>
    <dgm:cxn modelId="{9D092153-BB0A-486E-BA0A-2B8BAEEA9304}" type="presParOf" srcId="{0E5C99CB-8CFA-49D5-A73A-01608B8BF867}" destId="{DF963FF3-509C-4EB6-ADB3-2C257F7BFCEE}" srcOrd="3" destOrd="0" presId="urn:microsoft.com/office/officeart/2009/3/layout/SnapshotPictureList"/>
    <dgm:cxn modelId="{382DC359-9049-4847-A4A7-F61A71C08FFD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ata35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51525" custScaleY="299360" custLinFactNeighborX="-184" custLinFactNeighborY="-15130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2000" r="-12000"/>
          </a:stretch>
        </a:blipFill>
      </dgm:spPr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83494849-96D9-4F6D-9B24-CAEB4A2CF1F0}" type="presOf" srcId="{AF16A61B-CACB-441B-8B4E-916A37A6FA8C}" destId="{4ADFCD1E-F86F-4980-949D-F2AA3FFA5232}" srcOrd="0" destOrd="0" presId="urn:microsoft.com/office/officeart/2009/3/layout/SnapshotPictureList"/>
    <dgm:cxn modelId="{803E5922-3F79-4F0E-8004-62CB258F2D31}" type="presOf" srcId="{492659FD-171D-4B9B-8F01-EC8B9BFB8AF5}" destId="{25CD0F31-D6F4-43F1-986E-D2D05F4123CB}" srcOrd="0" destOrd="0" presId="urn:microsoft.com/office/officeart/2009/3/layout/SnapshotPictureList"/>
    <dgm:cxn modelId="{F1409FE7-BA97-4C40-A317-2D3B8390EF36}" type="presParOf" srcId="{4ADFCD1E-F86F-4980-949D-F2AA3FFA5232}" destId="{0E5C99CB-8CFA-49D5-A73A-01608B8BF867}" srcOrd="0" destOrd="0" presId="urn:microsoft.com/office/officeart/2009/3/layout/SnapshotPictureList"/>
    <dgm:cxn modelId="{C93D47FD-C622-451A-8C30-681D90E15C82}" type="presParOf" srcId="{0E5C99CB-8CFA-49D5-A73A-01608B8BF867}" destId="{3AE3D318-F4CD-468B-861E-A7E411945EC1}" srcOrd="0" destOrd="0" presId="urn:microsoft.com/office/officeart/2009/3/layout/SnapshotPictureList"/>
    <dgm:cxn modelId="{CEFA629B-F53B-440F-9F9C-2392C00B6842}" type="presParOf" srcId="{0E5C99CB-8CFA-49D5-A73A-01608B8BF867}" destId="{25CD0F31-D6F4-43F1-986E-D2D05F4123CB}" srcOrd="1" destOrd="0" presId="urn:microsoft.com/office/officeart/2009/3/layout/SnapshotPictureList"/>
    <dgm:cxn modelId="{15964A0F-9898-40F4-92CA-F03825796978}" type="presParOf" srcId="{0E5C99CB-8CFA-49D5-A73A-01608B8BF867}" destId="{C77FB5DD-B166-4F86-8CE7-3856C78F26B8}" srcOrd="2" destOrd="0" presId="urn:microsoft.com/office/officeart/2009/3/layout/SnapshotPictureList"/>
    <dgm:cxn modelId="{00B45B45-49B2-4221-B9B3-D1C020A590BF}" type="presParOf" srcId="{0E5C99CB-8CFA-49D5-A73A-01608B8BF867}" destId="{DF963FF3-509C-4EB6-ADB3-2C257F7BFCEE}" srcOrd="3" destOrd="0" presId="urn:microsoft.com/office/officeart/2009/3/layout/SnapshotPictureList"/>
    <dgm:cxn modelId="{B7384908-952C-41E6-B971-ECFF0490477E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28" minVer="http://schemas.openxmlformats.org/drawingml/2006/diagram"/>
    </a:ext>
  </dgm:extLst>
</dgm:dataModel>
</file>

<file path=ppt/diagrams/data36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44033" custScaleY="299360" custLinFactNeighborX="-10733" custLinFactNeighborY="-1427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</dgm:spPr>
      <dgm:t>
        <a:bodyPr/>
        <a:lstStyle/>
        <a:p>
          <a:endParaRPr lang="pt-BR"/>
        </a:p>
      </dgm:t>
    </dgm:pt>
  </dgm:ptLst>
  <dgm:cxnLst>
    <dgm:cxn modelId="{AC020F41-C5EA-4897-94BB-6594E708653B}" type="presOf" srcId="{492659FD-171D-4B9B-8F01-EC8B9BFB8AF5}" destId="{25CD0F31-D6F4-43F1-986E-D2D05F4123CB}" srcOrd="0" destOrd="0" presId="urn:microsoft.com/office/officeart/2009/3/layout/SnapshotPictureList"/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A8EB5D07-41A5-4F31-B9C4-328880A0D544}" type="presOf" srcId="{AF16A61B-CACB-441B-8B4E-916A37A6FA8C}" destId="{4ADFCD1E-F86F-4980-949D-F2AA3FFA5232}" srcOrd="0" destOrd="0" presId="urn:microsoft.com/office/officeart/2009/3/layout/SnapshotPictureList"/>
    <dgm:cxn modelId="{177E2A34-9B8A-4A84-A8E0-EFFEE801981C}" type="presParOf" srcId="{4ADFCD1E-F86F-4980-949D-F2AA3FFA5232}" destId="{0E5C99CB-8CFA-49D5-A73A-01608B8BF867}" srcOrd="0" destOrd="0" presId="urn:microsoft.com/office/officeart/2009/3/layout/SnapshotPictureList"/>
    <dgm:cxn modelId="{95E24659-8923-4A4E-AE20-FA2BC70DCDFC}" type="presParOf" srcId="{0E5C99CB-8CFA-49D5-A73A-01608B8BF867}" destId="{3AE3D318-F4CD-468B-861E-A7E411945EC1}" srcOrd="0" destOrd="0" presId="urn:microsoft.com/office/officeart/2009/3/layout/SnapshotPictureList"/>
    <dgm:cxn modelId="{FE504C8F-33B0-411A-98BA-2821BBDF52FC}" type="presParOf" srcId="{0E5C99CB-8CFA-49D5-A73A-01608B8BF867}" destId="{25CD0F31-D6F4-43F1-986E-D2D05F4123CB}" srcOrd="1" destOrd="0" presId="urn:microsoft.com/office/officeart/2009/3/layout/SnapshotPictureList"/>
    <dgm:cxn modelId="{76C20709-11BD-4034-926D-9C3A186B209A}" type="presParOf" srcId="{0E5C99CB-8CFA-49D5-A73A-01608B8BF867}" destId="{C77FB5DD-B166-4F86-8CE7-3856C78F26B8}" srcOrd="2" destOrd="0" presId="urn:microsoft.com/office/officeart/2009/3/layout/SnapshotPictureList"/>
    <dgm:cxn modelId="{5EBA9CBE-E48B-4076-803E-0BA9358BC9A3}" type="presParOf" srcId="{0E5C99CB-8CFA-49D5-A73A-01608B8BF867}" destId="{DF963FF3-509C-4EB6-ADB3-2C257F7BFCEE}" srcOrd="3" destOrd="0" presId="urn:microsoft.com/office/officeart/2009/3/layout/SnapshotPictureList"/>
    <dgm:cxn modelId="{0F292EC0-F70A-4422-9FA1-C4D8B18C03F7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33" minVer="http://schemas.openxmlformats.org/drawingml/2006/diagram"/>
    </a:ext>
  </dgm:extLst>
</dgm:dataModel>
</file>

<file path=ppt/diagrams/data37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168175" custScaleY="226974" custLinFactNeighborY="-51949"/>
      <dgm:spPr/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F361E1F9-5288-4A19-8051-44198E0E1F3C}" type="presOf" srcId="{492659FD-171D-4B9B-8F01-EC8B9BFB8AF5}" destId="{25CD0F31-D6F4-43F1-986E-D2D05F4123CB}" srcOrd="0" destOrd="0" presId="urn:microsoft.com/office/officeart/2009/3/layout/SnapshotPictureList"/>
    <dgm:cxn modelId="{19228876-1050-4315-B57C-095F1C5613A8}" type="presOf" srcId="{AF16A61B-CACB-441B-8B4E-916A37A6FA8C}" destId="{4ADFCD1E-F86F-4980-949D-F2AA3FFA5232}" srcOrd="0" destOrd="0" presId="urn:microsoft.com/office/officeart/2009/3/layout/SnapshotPictureList"/>
    <dgm:cxn modelId="{0AB1EE3C-7A11-4CA7-8084-BA59B7CB2A0D}" type="presParOf" srcId="{4ADFCD1E-F86F-4980-949D-F2AA3FFA5232}" destId="{0E5C99CB-8CFA-49D5-A73A-01608B8BF867}" srcOrd="0" destOrd="0" presId="urn:microsoft.com/office/officeart/2009/3/layout/SnapshotPictureList"/>
    <dgm:cxn modelId="{FFE098D1-311E-4835-BBE4-82BFBFD41AB5}" type="presParOf" srcId="{0E5C99CB-8CFA-49D5-A73A-01608B8BF867}" destId="{3AE3D318-F4CD-468B-861E-A7E411945EC1}" srcOrd="0" destOrd="0" presId="urn:microsoft.com/office/officeart/2009/3/layout/SnapshotPictureList"/>
    <dgm:cxn modelId="{94F996F6-0C5D-497A-8539-AF60FC29FE4F}" type="presParOf" srcId="{0E5C99CB-8CFA-49D5-A73A-01608B8BF867}" destId="{25CD0F31-D6F4-43F1-986E-D2D05F4123CB}" srcOrd="1" destOrd="0" presId="urn:microsoft.com/office/officeart/2009/3/layout/SnapshotPictureList"/>
    <dgm:cxn modelId="{EB1EEFE6-912D-4A8E-B70D-EE466D737625}" type="presParOf" srcId="{0E5C99CB-8CFA-49D5-A73A-01608B8BF867}" destId="{C77FB5DD-B166-4F86-8CE7-3856C78F26B8}" srcOrd="2" destOrd="0" presId="urn:microsoft.com/office/officeart/2009/3/layout/SnapshotPictureList"/>
    <dgm:cxn modelId="{C583D9AA-E8ED-4007-82F2-83C2B83DBE7C}" type="presParOf" srcId="{0E5C99CB-8CFA-49D5-A73A-01608B8BF867}" destId="{DF963FF3-509C-4EB6-ADB3-2C257F7BFCEE}" srcOrd="3" destOrd="0" presId="urn:microsoft.com/office/officeart/2009/3/layout/SnapshotPictureList"/>
    <dgm:cxn modelId="{33BF1F86-7732-4F2E-8888-54E98D956695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8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168175" custScaleY="226974" custLinFactNeighborY="-51949"/>
      <dgm:spPr/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844DCE08-9110-4189-B35C-12D690CCDD5C}" type="presOf" srcId="{492659FD-171D-4B9B-8F01-EC8B9BFB8AF5}" destId="{25CD0F31-D6F4-43F1-986E-D2D05F4123CB}" srcOrd="0" destOrd="0" presId="urn:microsoft.com/office/officeart/2009/3/layout/SnapshotPictureList"/>
    <dgm:cxn modelId="{F6E1FF12-9D2C-4AFB-B5E5-C9C87855274B}" type="presOf" srcId="{AF16A61B-CACB-441B-8B4E-916A37A6FA8C}" destId="{4ADFCD1E-F86F-4980-949D-F2AA3FFA5232}" srcOrd="0" destOrd="0" presId="urn:microsoft.com/office/officeart/2009/3/layout/SnapshotPictureList"/>
    <dgm:cxn modelId="{3A4EFE0C-2FBC-4F7D-A781-7EE03A168320}" type="presParOf" srcId="{4ADFCD1E-F86F-4980-949D-F2AA3FFA5232}" destId="{0E5C99CB-8CFA-49D5-A73A-01608B8BF867}" srcOrd="0" destOrd="0" presId="urn:microsoft.com/office/officeart/2009/3/layout/SnapshotPictureList"/>
    <dgm:cxn modelId="{C15C6D1B-67E5-4493-875A-65BCEFBC7C33}" type="presParOf" srcId="{0E5C99CB-8CFA-49D5-A73A-01608B8BF867}" destId="{3AE3D318-F4CD-468B-861E-A7E411945EC1}" srcOrd="0" destOrd="0" presId="urn:microsoft.com/office/officeart/2009/3/layout/SnapshotPictureList"/>
    <dgm:cxn modelId="{BABBAE20-7FA8-49A8-9956-4140C3F66AAB}" type="presParOf" srcId="{0E5C99CB-8CFA-49D5-A73A-01608B8BF867}" destId="{25CD0F31-D6F4-43F1-986E-D2D05F4123CB}" srcOrd="1" destOrd="0" presId="urn:microsoft.com/office/officeart/2009/3/layout/SnapshotPictureList"/>
    <dgm:cxn modelId="{8576E8E4-A9EE-405A-BE7C-4EE90E302B7A}" type="presParOf" srcId="{0E5C99CB-8CFA-49D5-A73A-01608B8BF867}" destId="{C77FB5DD-B166-4F86-8CE7-3856C78F26B8}" srcOrd="2" destOrd="0" presId="urn:microsoft.com/office/officeart/2009/3/layout/SnapshotPictureList"/>
    <dgm:cxn modelId="{6AEA03BF-8A81-45F2-89A4-015E06A03800}" type="presParOf" srcId="{0E5C99CB-8CFA-49D5-A73A-01608B8BF867}" destId="{DF963FF3-509C-4EB6-ADB3-2C257F7BFCEE}" srcOrd="3" destOrd="0" presId="urn:microsoft.com/office/officeart/2009/3/layout/SnapshotPictureList"/>
    <dgm:cxn modelId="{4CBF04BC-9C0F-4002-BA4E-BBE985A9AEB5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9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53004" custScaleY="315796" custLinFactNeighborY="-51949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E2840328-E1B2-49CA-98C5-D240E41D718A}" type="presOf" srcId="{AF16A61B-CACB-441B-8B4E-916A37A6FA8C}" destId="{4ADFCD1E-F86F-4980-949D-F2AA3FFA5232}" srcOrd="0" destOrd="0" presId="urn:microsoft.com/office/officeart/2009/3/layout/SnapshotPictureList"/>
    <dgm:cxn modelId="{B9DBF322-A0E7-4AB3-B6C5-35EDDFA4908E}" type="presOf" srcId="{492659FD-171D-4B9B-8F01-EC8B9BFB8AF5}" destId="{25CD0F31-D6F4-43F1-986E-D2D05F4123CB}" srcOrd="0" destOrd="0" presId="urn:microsoft.com/office/officeart/2009/3/layout/SnapshotPictureList"/>
    <dgm:cxn modelId="{A5657B81-28CF-4476-A321-72AE0BC937F7}" type="presParOf" srcId="{4ADFCD1E-F86F-4980-949D-F2AA3FFA5232}" destId="{0E5C99CB-8CFA-49D5-A73A-01608B8BF867}" srcOrd="0" destOrd="0" presId="urn:microsoft.com/office/officeart/2009/3/layout/SnapshotPictureList"/>
    <dgm:cxn modelId="{7FFFFC7D-B7CF-49A8-9EAE-C064E573035E}" type="presParOf" srcId="{0E5C99CB-8CFA-49D5-A73A-01608B8BF867}" destId="{3AE3D318-F4CD-468B-861E-A7E411945EC1}" srcOrd="0" destOrd="0" presId="urn:microsoft.com/office/officeart/2009/3/layout/SnapshotPictureList"/>
    <dgm:cxn modelId="{37B32D56-17A8-4E67-83C7-2265550469D9}" type="presParOf" srcId="{0E5C99CB-8CFA-49D5-A73A-01608B8BF867}" destId="{25CD0F31-D6F4-43F1-986E-D2D05F4123CB}" srcOrd="1" destOrd="0" presId="urn:microsoft.com/office/officeart/2009/3/layout/SnapshotPictureList"/>
    <dgm:cxn modelId="{383C1D4C-F382-4F66-B60E-061F68A7E1DD}" type="presParOf" srcId="{0E5C99CB-8CFA-49D5-A73A-01608B8BF867}" destId="{C77FB5DD-B166-4F86-8CE7-3856C78F26B8}" srcOrd="2" destOrd="0" presId="urn:microsoft.com/office/officeart/2009/3/layout/SnapshotPictureList"/>
    <dgm:cxn modelId="{BC4816A0-A0BE-417F-B2B1-FF3734183652}" type="presParOf" srcId="{0E5C99CB-8CFA-49D5-A73A-01608B8BF867}" destId="{DF963FF3-509C-4EB6-ADB3-2C257F7BFCEE}" srcOrd="3" destOrd="0" presId="urn:microsoft.com/office/officeart/2009/3/layout/SnapshotPictureList"/>
    <dgm:cxn modelId="{AD8DFC03-AD21-4861-8D35-0179CC2C40E9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42999" custScaleY="285237" custLinFactNeighborX="-14395" custLinFactNeighborY="-3824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6000" r="-16000"/>
          </a:stretch>
        </a:blipFill>
      </dgm:spPr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3755F54F-8E6D-46A9-B73C-3EA61B965C00}" type="presOf" srcId="{492659FD-171D-4B9B-8F01-EC8B9BFB8AF5}" destId="{25CD0F31-D6F4-43F1-986E-D2D05F4123CB}" srcOrd="0" destOrd="0" presId="urn:microsoft.com/office/officeart/2009/3/layout/SnapshotPictureList"/>
    <dgm:cxn modelId="{A8D97BB9-F5CE-4668-A790-291377BA14A2}" type="presOf" srcId="{AF16A61B-CACB-441B-8B4E-916A37A6FA8C}" destId="{4ADFCD1E-F86F-4980-949D-F2AA3FFA5232}" srcOrd="0" destOrd="0" presId="urn:microsoft.com/office/officeart/2009/3/layout/SnapshotPictureList"/>
    <dgm:cxn modelId="{B7E59010-01CB-4EC5-B893-48BD97FADCC4}" type="presParOf" srcId="{4ADFCD1E-F86F-4980-949D-F2AA3FFA5232}" destId="{0E5C99CB-8CFA-49D5-A73A-01608B8BF867}" srcOrd="0" destOrd="0" presId="urn:microsoft.com/office/officeart/2009/3/layout/SnapshotPictureList"/>
    <dgm:cxn modelId="{06A30BB6-A978-4C31-8AE9-D839C3047951}" type="presParOf" srcId="{0E5C99CB-8CFA-49D5-A73A-01608B8BF867}" destId="{3AE3D318-F4CD-468B-861E-A7E411945EC1}" srcOrd="0" destOrd="0" presId="urn:microsoft.com/office/officeart/2009/3/layout/SnapshotPictureList"/>
    <dgm:cxn modelId="{12B42A76-58E0-4AEF-AA19-33F9C54754B1}" type="presParOf" srcId="{0E5C99CB-8CFA-49D5-A73A-01608B8BF867}" destId="{25CD0F31-D6F4-43F1-986E-D2D05F4123CB}" srcOrd="1" destOrd="0" presId="urn:microsoft.com/office/officeart/2009/3/layout/SnapshotPictureList"/>
    <dgm:cxn modelId="{730A8263-FD2E-4FD8-A1F2-2FFFD7B4B31F}" type="presParOf" srcId="{0E5C99CB-8CFA-49D5-A73A-01608B8BF867}" destId="{C77FB5DD-B166-4F86-8CE7-3856C78F26B8}" srcOrd="2" destOrd="0" presId="urn:microsoft.com/office/officeart/2009/3/layout/SnapshotPictureList"/>
    <dgm:cxn modelId="{9306FE65-B32F-48DA-B4BF-9C252ADC17EC}" type="presParOf" srcId="{0E5C99CB-8CFA-49D5-A73A-01608B8BF867}" destId="{DF963FF3-509C-4EB6-ADB3-2C257F7BFCEE}" srcOrd="3" destOrd="0" presId="urn:microsoft.com/office/officeart/2009/3/layout/SnapshotPictureList"/>
    <dgm:cxn modelId="{F3D48467-DF97-4B70-AAED-F058C167BAEC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40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42999" custScaleY="285237" custLinFactNeighborX="-14395" custLinFactNeighborY="-3824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6000" r="-16000"/>
          </a:stretch>
        </a:blipFill>
      </dgm:spPr>
      <dgm:t>
        <a:bodyPr/>
        <a:lstStyle/>
        <a:p>
          <a:endParaRPr lang="pt-BR"/>
        </a:p>
      </dgm:t>
    </dgm:pt>
  </dgm:ptLst>
  <dgm:cxnLst>
    <dgm:cxn modelId="{27BAF7FD-9FC9-4FD2-9DAB-57289876402C}" type="presOf" srcId="{492659FD-171D-4B9B-8F01-EC8B9BFB8AF5}" destId="{25CD0F31-D6F4-43F1-986E-D2D05F4123CB}" srcOrd="0" destOrd="0" presId="urn:microsoft.com/office/officeart/2009/3/layout/SnapshotPictureList"/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6FB0EA2F-E534-4D64-A03E-0CE161E6B619}" type="presOf" srcId="{AF16A61B-CACB-441B-8B4E-916A37A6FA8C}" destId="{4ADFCD1E-F86F-4980-949D-F2AA3FFA5232}" srcOrd="0" destOrd="0" presId="urn:microsoft.com/office/officeart/2009/3/layout/SnapshotPictureList"/>
    <dgm:cxn modelId="{1AFC6FA2-0354-4128-ABD9-ADEAA24BFB39}" type="presParOf" srcId="{4ADFCD1E-F86F-4980-949D-F2AA3FFA5232}" destId="{0E5C99CB-8CFA-49D5-A73A-01608B8BF867}" srcOrd="0" destOrd="0" presId="urn:microsoft.com/office/officeart/2009/3/layout/SnapshotPictureList"/>
    <dgm:cxn modelId="{8327264D-5BAA-49C0-84BD-CBBAA0ED5750}" type="presParOf" srcId="{0E5C99CB-8CFA-49D5-A73A-01608B8BF867}" destId="{3AE3D318-F4CD-468B-861E-A7E411945EC1}" srcOrd="0" destOrd="0" presId="urn:microsoft.com/office/officeart/2009/3/layout/SnapshotPictureList"/>
    <dgm:cxn modelId="{87DC17F5-7EFD-4B64-B8B8-1E36D13FAEAF}" type="presParOf" srcId="{0E5C99CB-8CFA-49D5-A73A-01608B8BF867}" destId="{25CD0F31-D6F4-43F1-986E-D2D05F4123CB}" srcOrd="1" destOrd="0" presId="urn:microsoft.com/office/officeart/2009/3/layout/SnapshotPictureList"/>
    <dgm:cxn modelId="{AF45CA3A-5B77-4046-A381-866F0F12DC8B}" type="presParOf" srcId="{0E5C99CB-8CFA-49D5-A73A-01608B8BF867}" destId="{C77FB5DD-B166-4F86-8CE7-3856C78F26B8}" srcOrd="2" destOrd="0" presId="urn:microsoft.com/office/officeart/2009/3/layout/SnapshotPictureList"/>
    <dgm:cxn modelId="{7074CE42-0D28-45FD-AB10-1B53B38719D1}" type="presParOf" srcId="{0E5C99CB-8CFA-49D5-A73A-01608B8BF867}" destId="{DF963FF3-509C-4EB6-ADB3-2C257F7BFCEE}" srcOrd="3" destOrd="0" presId="urn:microsoft.com/office/officeart/2009/3/layout/SnapshotPictureList"/>
    <dgm:cxn modelId="{B3980D6F-3C4D-4180-9156-F894CE47B1E6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41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48977" custScaleY="299360" custLinFactNeighborX="-21633" custLinFactNeighborY="-2031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  <dgm:t>
        <a:bodyPr/>
        <a:lstStyle/>
        <a:p>
          <a:endParaRPr lang="pt-BR"/>
        </a:p>
      </dgm:t>
    </dgm:pt>
  </dgm:ptLst>
  <dgm:cxnLst>
    <dgm:cxn modelId="{B1685C50-C660-41D5-A181-0618C53B72BE}" type="presOf" srcId="{492659FD-171D-4B9B-8F01-EC8B9BFB8AF5}" destId="{25CD0F31-D6F4-43F1-986E-D2D05F4123CB}" srcOrd="0" destOrd="0" presId="urn:microsoft.com/office/officeart/2009/3/layout/SnapshotPictureList"/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06C58396-9A5B-4814-903D-0660CF8625DA}" type="presOf" srcId="{AF16A61B-CACB-441B-8B4E-916A37A6FA8C}" destId="{4ADFCD1E-F86F-4980-949D-F2AA3FFA5232}" srcOrd="0" destOrd="0" presId="urn:microsoft.com/office/officeart/2009/3/layout/SnapshotPictureList"/>
    <dgm:cxn modelId="{327ACE2A-F6B5-423F-87B4-EC170D896975}" type="presParOf" srcId="{4ADFCD1E-F86F-4980-949D-F2AA3FFA5232}" destId="{0E5C99CB-8CFA-49D5-A73A-01608B8BF867}" srcOrd="0" destOrd="0" presId="urn:microsoft.com/office/officeart/2009/3/layout/SnapshotPictureList"/>
    <dgm:cxn modelId="{C95246E8-CBDF-4261-983B-18E019ABF8FE}" type="presParOf" srcId="{0E5C99CB-8CFA-49D5-A73A-01608B8BF867}" destId="{3AE3D318-F4CD-468B-861E-A7E411945EC1}" srcOrd="0" destOrd="0" presId="urn:microsoft.com/office/officeart/2009/3/layout/SnapshotPictureList"/>
    <dgm:cxn modelId="{9C8A61DD-30FA-4F7C-B4CD-8179A15A2696}" type="presParOf" srcId="{0E5C99CB-8CFA-49D5-A73A-01608B8BF867}" destId="{25CD0F31-D6F4-43F1-986E-D2D05F4123CB}" srcOrd="1" destOrd="0" presId="urn:microsoft.com/office/officeart/2009/3/layout/SnapshotPictureList"/>
    <dgm:cxn modelId="{81171A82-74BA-4B08-8EB4-8A62BD16C6D5}" type="presParOf" srcId="{0E5C99CB-8CFA-49D5-A73A-01608B8BF867}" destId="{C77FB5DD-B166-4F86-8CE7-3856C78F26B8}" srcOrd="2" destOrd="0" presId="urn:microsoft.com/office/officeart/2009/3/layout/SnapshotPictureList"/>
    <dgm:cxn modelId="{79070A0C-A184-487C-9204-427BDD5D983C}" type="presParOf" srcId="{0E5C99CB-8CFA-49D5-A73A-01608B8BF867}" destId="{DF963FF3-509C-4EB6-ADB3-2C257F7BFCEE}" srcOrd="3" destOrd="0" presId="urn:microsoft.com/office/officeart/2009/3/layout/SnapshotPictureList"/>
    <dgm:cxn modelId="{EB8C31C7-30F0-4AD2-9C79-7E7F113D0A96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ata42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51525" custScaleY="299360" custLinFactNeighborX="-184" custLinFactNeighborY="-15130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2000" r="-12000"/>
          </a:stretch>
        </a:blipFill>
      </dgm:spPr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3ED005E9-8DED-4497-AB3F-8B538FD4C4BF}" type="presOf" srcId="{AF16A61B-CACB-441B-8B4E-916A37A6FA8C}" destId="{4ADFCD1E-F86F-4980-949D-F2AA3FFA5232}" srcOrd="0" destOrd="0" presId="urn:microsoft.com/office/officeart/2009/3/layout/SnapshotPictureList"/>
    <dgm:cxn modelId="{CEF2262C-0D12-479F-A8C8-ECE86CD2D1A7}" type="presOf" srcId="{492659FD-171D-4B9B-8F01-EC8B9BFB8AF5}" destId="{25CD0F31-D6F4-43F1-986E-D2D05F4123CB}" srcOrd="0" destOrd="0" presId="urn:microsoft.com/office/officeart/2009/3/layout/SnapshotPictureList"/>
    <dgm:cxn modelId="{24F7C1FE-528A-4FBD-8C1B-F1A3F2425458}" type="presParOf" srcId="{4ADFCD1E-F86F-4980-949D-F2AA3FFA5232}" destId="{0E5C99CB-8CFA-49D5-A73A-01608B8BF867}" srcOrd="0" destOrd="0" presId="urn:microsoft.com/office/officeart/2009/3/layout/SnapshotPictureList"/>
    <dgm:cxn modelId="{CDB63284-FA19-42AE-8B05-28D27345652A}" type="presParOf" srcId="{0E5C99CB-8CFA-49D5-A73A-01608B8BF867}" destId="{3AE3D318-F4CD-468B-861E-A7E411945EC1}" srcOrd="0" destOrd="0" presId="urn:microsoft.com/office/officeart/2009/3/layout/SnapshotPictureList"/>
    <dgm:cxn modelId="{43A1DD42-263B-4B69-99F8-9B55A24B5C88}" type="presParOf" srcId="{0E5C99CB-8CFA-49D5-A73A-01608B8BF867}" destId="{25CD0F31-D6F4-43F1-986E-D2D05F4123CB}" srcOrd="1" destOrd="0" presId="urn:microsoft.com/office/officeart/2009/3/layout/SnapshotPictureList"/>
    <dgm:cxn modelId="{6CC2C3CC-BADF-49B8-AE65-A39E334AC06C}" type="presParOf" srcId="{0E5C99CB-8CFA-49D5-A73A-01608B8BF867}" destId="{C77FB5DD-B166-4F86-8CE7-3856C78F26B8}" srcOrd="2" destOrd="0" presId="urn:microsoft.com/office/officeart/2009/3/layout/SnapshotPictureList"/>
    <dgm:cxn modelId="{9A62D14A-93FE-4DE5-9DC5-AA997BE221EC}" type="presParOf" srcId="{0E5C99CB-8CFA-49D5-A73A-01608B8BF867}" destId="{DF963FF3-509C-4EB6-ADB3-2C257F7BFCEE}" srcOrd="3" destOrd="0" presId="urn:microsoft.com/office/officeart/2009/3/layout/SnapshotPictureList"/>
    <dgm:cxn modelId="{BFAA3494-4A57-4A72-B981-672A78A6FF27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28" minVer="http://schemas.openxmlformats.org/drawingml/2006/diagram"/>
    </a:ext>
  </dgm:extLst>
</dgm:dataModel>
</file>

<file path=ppt/diagrams/data43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44033" custScaleY="299360" custLinFactNeighborX="-10733" custLinFactNeighborY="-1427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</dgm:spPr>
      <dgm:t>
        <a:bodyPr/>
        <a:lstStyle/>
        <a:p>
          <a:endParaRPr lang="pt-BR"/>
        </a:p>
      </dgm:t>
    </dgm:pt>
  </dgm:ptLst>
  <dgm:cxnLst>
    <dgm:cxn modelId="{E225998A-B45B-46C6-87C7-1E6E57371BE2}" type="presOf" srcId="{492659FD-171D-4B9B-8F01-EC8B9BFB8AF5}" destId="{25CD0F31-D6F4-43F1-986E-D2D05F4123CB}" srcOrd="0" destOrd="0" presId="urn:microsoft.com/office/officeart/2009/3/layout/SnapshotPictureList"/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560F732B-A149-4D58-85DA-FF1DA145098A}" type="presOf" srcId="{AF16A61B-CACB-441B-8B4E-916A37A6FA8C}" destId="{4ADFCD1E-F86F-4980-949D-F2AA3FFA5232}" srcOrd="0" destOrd="0" presId="urn:microsoft.com/office/officeart/2009/3/layout/SnapshotPictureList"/>
    <dgm:cxn modelId="{DE222E07-11D6-473D-B5D0-1AE814D73C96}" type="presParOf" srcId="{4ADFCD1E-F86F-4980-949D-F2AA3FFA5232}" destId="{0E5C99CB-8CFA-49D5-A73A-01608B8BF867}" srcOrd="0" destOrd="0" presId="urn:microsoft.com/office/officeart/2009/3/layout/SnapshotPictureList"/>
    <dgm:cxn modelId="{01A47F57-9BDA-4CAC-97AA-700F4F222398}" type="presParOf" srcId="{0E5C99CB-8CFA-49D5-A73A-01608B8BF867}" destId="{3AE3D318-F4CD-468B-861E-A7E411945EC1}" srcOrd="0" destOrd="0" presId="urn:microsoft.com/office/officeart/2009/3/layout/SnapshotPictureList"/>
    <dgm:cxn modelId="{19548CA6-A6F4-47FD-929A-18FE6B55D526}" type="presParOf" srcId="{0E5C99CB-8CFA-49D5-A73A-01608B8BF867}" destId="{25CD0F31-D6F4-43F1-986E-D2D05F4123CB}" srcOrd="1" destOrd="0" presId="urn:microsoft.com/office/officeart/2009/3/layout/SnapshotPictureList"/>
    <dgm:cxn modelId="{07D8FB25-5B9F-4138-9C61-75A4C92890D0}" type="presParOf" srcId="{0E5C99CB-8CFA-49D5-A73A-01608B8BF867}" destId="{C77FB5DD-B166-4F86-8CE7-3856C78F26B8}" srcOrd="2" destOrd="0" presId="urn:microsoft.com/office/officeart/2009/3/layout/SnapshotPictureList"/>
    <dgm:cxn modelId="{92401F33-AF7D-4200-A8D9-8FA3C7480ACC}" type="presParOf" srcId="{0E5C99CB-8CFA-49D5-A73A-01608B8BF867}" destId="{DF963FF3-509C-4EB6-ADB3-2C257F7BFCEE}" srcOrd="3" destOrd="0" presId="urn:microsoft.com/office/officeart/2009/3/layout/SnapshotPictureList"/>
    <dgm:cxn modelId="{02D85CBC-09EC-4CB0-89E4-6BF8A53E4A50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33" minVer="http://schemas.openxmlformats.org/drawingml/2006/diagram"/>
    </a:ext>
  </dgm:extLst>
</dgm:dataModel>
</file>

<file path=ppt/diagrams/data44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168175" custScaleY="226974" custLinFactNeighborY="-51949"/>
      <dgm:spPr/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334A8C3E-C200-495C-95F7-956DCFCD1E60}" type="presOf" srcId="{492659FD-171D-4B9B-8F01-EC8B9BFB8AF5}" destId="{25CD0F31-D6F4-43F1-986E-D2D05F4123CB}" srcOrd="0" destOrd="0" presId="urn:microsoft.com/office/officeart/2009/3/layout/SnapshotPictureList"/>
    <dgm:cxn modelId="{A6E6A585-BA81-4D53-A4D6-CFD5FB5D29A2}" type="presOf" srcId="{AF16A61B-CACB-441B-8B4E-916A37A6FA8C}" destId="{4ADFCD1E-F86F-4980-949D-F2AA3FFA5232}" srcOrd="0" destOrd="0" presId="urn:microsoft.com/office/officeart/2009/3/layout/SnapshotPictureList"/>
    <dgm:cxn modelId="{27419DA8-4D65-4176-A490-89D7DE3A3F8B}" type="presParOf" srcId="{4ADFCD1E-F86F-4980-949D-F2AA3FFA5232}" destId="{0E5C99CB-8CFA-49D5-A73A-01608B8BF867}" srcOrd="0" destOrd="0" presId="urn:microsoft.com/office/officeart/2009/3/layout/SnapshotPictureList"/>
    <dgm:cxn modelId="{11C27AB3-FE3D-458B-8E30-C8DD47F31A72}" type="presParOf" srcId="{0E5C99CB-8CFA-49D5-A73A-01608B8BF867}" destId="{3AE3D318-F4CD-468B-861E-A7E411945EC1}" srcOrd="0" destOrd="0" presId="urn:microsoft.com/office/officeart/2009/3/layout/SnapshotPictureList"/>
    <dgm:cxn modelId="{401A8C40-82BC-4079-83D8-842805CE7959}" type="presParOf" srcId="{0E5C99CB-8CFA-49D5-A73A-01608B8BF867}" destId="{25CD0F31-D6F4-43F1-986E-D2D05F4123CB}" srcOrd="1" destOrd="0" presId="urn:microsoft.com/office/officeart/2009/3/layout/SnapshotPictureList"/>
    <dgm:cxn modelId="{572EE564-FF82-4462-AF02-A1467B46C690}" type="presParOf" srcId="{0E5C99CB-8CFA-49D5-A73A-01608B8BF867}" destId="{C77FB5DD-B166-4F86-8CE7-3856C78F26B8}" srcOrd="2" destOrd="0" presId="urn:microsoft.com/office/officeart/2009/3/layout/SnapshotPictureList"/>
    <dgm:cxn modelId="{0E2D514E-BDF2-45F4-8ACF-EA661B8AEE6F}" type="presParOf" srcId="{0E5C99CB-8CFA-49D5-A73A-01608B8BF867}" destId="{DF963FF3-509C-4EB6-ADB3-2C257F7BFCEE}" srcOrd="3" destOrd="0" presId="urn:microsoft.com/office/officeart/2009/3/layout/SnapshotPictureList"/>
    <dgm:cxn modelId="{460CDBD4-85F3-4ED0-BD4E-8C8630FAB46C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5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53004" custScaleY="315796" custLinFactNeighborY="-51949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411DEF16-B991-430A-BFCB-A2B102A8DC3A}" type="presOf" srcId="{492659FD-171D-4B9B-8F01-EC8B9BFB8AF5}" destId="{25CD0F31-D6F4-43F1-986E-D2D05F4123CB}" srcOrd="0" destOrd="0" presId="urn:microsoft.com/office/officeart/2009/3/layout/SnapshotPictureList"/>
    <dgm:cxn modelId="{5647B800-725A-4DD0-BF31-1D3C281C07CE}" type="presOf" srcId="{AF16A61B-CACB-441B-8B4E-916A37A6FA8C}" destId="{4ADFCD1E-F86F-4980-949D-F2AA3FFA5232}" srcOrd="0" destOrd="0" presId="urn:microsoft.com/office/officeart/2009/3/layout/SnapshotPictureList"/>
    <dgm:cxn modelId="{49CA489E-5DB7-4F90-AA98-B1F3E9A7875D}" type="presParOf" srcId="{4ADFCD1E-F86F-4980-949D-F2AA3FFA5232}" destId="{0E5C99CB-8CFA-49D5-A73A-01608B8BF867}" srcOrd="0" destOrd="0" presId="urn:microsoft.com/office/officeart/2009/3/layout/SnapshotPictureList"/>
    <dgm:cxn modelId="{3F484925-FBE7-4ACE-9B7E-049CDC9F4944}" type="presParOf" srcId="{0E5C99CB-8CFA-49D5-A73A-01608B8BF867}" destId="{3AE3D318-F4CD-468B-861E-A7E411945EC1}" srcOrd="0" destOrd="0" presId="urn:microsoft.com/office/officeart/2009/3/layout/SnapshotPictureList"/>
    <dgm:cxn modelId="{0DB88CBB-A0C4-4317-8631-C7CC740E9ACC}" type="presParOf" srcId="{0E5C99CB-8CFA-49D5-A73A-01608B8BF867}" destId="{25CD0F31-D6F4-43F1-986E-D2D05F4123CB}" srcOrd="1" destOrd="0" presId="urn:microsoft.com/office/officeart/2009/3/layout/SnapshotPictureList"/>
    <dgm:cxn modelId="{A6C62410-EEC9-4B15-BEF3-73BFD237B9AD}" type="presParOf" srcId="{0E5C99CB-8CFA-49D5-A73A-01608B8BF867}" destId="{C77FB5DD-B166-4F86-8CE7-3856C78F26B8}" srcOrd="2" destOrd="0" presId="urn:microsoft.com/office/officeart/2009/3/layout/SnapshotPictureList"/>
    <dgm:cxn modelId="{95D0B84C-FF9A-4DC2-A717-730DAACB37D5}" type="presParOf" srcId="{0E5C99CB-8CFA-49D5-A73A-01608B8BF867}" destId="{DF963FF3-509C-4EB6-ADB3-2C257F7BFCEE}" srcOrd="3" destOrd="0" presId="urn:microsoft.com/office/officeart/2009/3/layout/SnapshotPictureList"/>
    <dgm:cxn modelId="{4A51B947-7C10-470D-BA98-CA045905FBD6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46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42999" custScaleY="285237" custLinFactNeighborX="-14395" custLinFactNeighborY="-3824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6000" r="-16000"/>
          </a:stretch>
        </a:blipFill>
      </dgm:spPr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552359DA-B5E4-4647-B832-2906FC86F2B4}" type="presOf" srcId="{492659FD-171D-4B9B-8F01-EC8B9BFB8AF5}" destId="{25CD0F31-D6F4-43F1-986E-D2D05F4123CB}" srcOrd="0" destOrd="0" presId="urn:microsoft.com/office/officeart/2009/3/layout/SnapshotPictureList"/>
    <dgm:cxn modelId="{915239AC-207A-439B-8B01-09FB7A818E65}" type="presOf" srcId="{AF16A61B-CACB-441B-8B4E-916A37A6FA8C}" destId="{4ADFCD1E-F86F-4980-949D-F2AA3FFA5232}" srcOrd="0" destOrd="0" presId="urn:microsoft.com/office/officeart/2009/3/layout/SnapshotPictureList"/>
    <dgm:cxn modelId="{FDB453B9-EB82-49A5-8B40-009A61755737}" type="presParOf" srcId="{4ADFCD1E-F86F-4980-949D-F2AA3FFA5232}" destId="{0E5C99CB-8CFA-49D5-A73A-01608B8BF867}" srcOrd="0" destOrd="0" presId="urn:microsoft.com/office/officeart/2009/3/layout/SnapshotPictureList"/>
    <dgm:cxn modelId="{F77633B9-42EC-4026-8C3E-59124F582EFA}" type="presParOf" srcId="{0E5C99CB-8CFA-49D5-A73A-01608B8BF867}" destId="{3AE3D318-F4CD-468B-861E-A7E411945EC1}" srcOrd="0" destOrd="0" presId="urn:microsoft.com/office/officeart/2009/3/layout/SnapshotPictureList"/>
    <dgm:cxn modelId="{3ECDAE68-284E-426F-85C0-4E60EF0A3F2B}" type="presParOf" srcId="{0E5C99CB-8CFA-49D5-A73A-01608B8BF867}" destId="{25CD0F31-D6F4-43F1-986E-D2D05F4123CB}" srcOrd="1" destOrd="0" presId="urn:microsoft.com/office/officeart/2009/3/layout/SnapshotPictureList"/>
    <dgm:cxn modelId="{55D08613-3973-4727-A60D-FF39F2070CED}" type="presParOf" srcId="{0E5C99CB-8CFA-49D5-A73A-01608B8BF867}" destId="{C77FB5DD-B166-4F86-8CE7-3856C78F26B8}" srcOrd="2" destOrd="0" presId="urn:microsoft.com/office/officeart/2009/3/layout/SnapshotPictureList"/>
    <dgm:cxn modelId="{2DD8E5D6-46FB-4910-8E28-EBE9F697FB0B}" type="presParOf" srcId="{0E5C99CB-8CFA-49D5-A73A-01608B8BF867}" destId="{DF963FF3-509C-4EB6-ADB3-2C257F7BFCEE}" srcOrd="3" destOrd="0" presId="urn:microsoft.com/office/officeart/2009/3/layout/SnapshotPictureList"/>
    <dgm:cxn modelId="{51FBB75C-E2C5-4887-A24F-3E4649269DD6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47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48977" custScaleY="299360" custLinFactNeighborX="-21633" custLinFactNeighborY="-2031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39305950-29DD-4865-9469-07CEE764773F}" type="presOf" srcId="{AF16A61B-CACB-441B-8B4E-916A37A6FA8C}" destId="{4ADFCD1E-F86F-4980-949D-F2AA3FFA5232}" srcOrd="0" destOrd="0" presId="urn:microsoft.com/office/officeart/2009/3/layout/SnapshotPictureList"/>
    <dgm:cxn modelId="{3ABB0459-AB28-4BB7-881E-511D4D3C7046}" type="presOf" srcId="{492659FD-171D-4B9B-8F01-EC8B9BFB8AF5}" destId="{25CD0F31-D6F4-43F1-986E-D2D05F4123CB}" srcOrd="0" destOrd="0" presId="urn:microsoft.com/office/officeart/2009/3/layout/SnapshotPictureList"/>
    <dgm:cxn modelId="{06DBB792-9287-4B2E-A1A4-738BD0B35CB1}" type="presParOf" srcId="{4ADFCD1E-F86F-4980-949D-F2AA3FFA5232}" destId="{0E5C99CB-8CFA-49D5-A73A-01608B8BF867}" srcOrd="0" destOrd="0" presId="urn:microsoft.com/office/officeart/2009/3/layout/SnapshotPictureList"/>
    <dgm:cxn modelId="{F6861B2D-947F-4791-83A8-29C1109CF1ED}" type="presParOf" srcId="{0E5C99CB-8CFA-49D5-A73A-01608B8BF867}" destId="{3AE3D318-F4CD-468B-861E-A7E411945EC1}" srcOrd="0" destOrd="0" presId="urn:microsoft.com/office/officeart/2009/3/layout/SnapshotPictureList"/>
    <dgm:cxn modelId="{B6002B78-7F13-457F-A6EE-906E5663B9BD}" type="presParOf" srcId="{0E5C99CB-8CFA-49D5-A73A-01608B8BF867}" destId="{25CD0F31-D6F4-43F1-986E-D2D05F4123CB}" srcOrd="1" destOrd="0" presId="urn:microsoft.com/office/officeart/2009/3/layout/SnapshotPictureList"/>
    <dgm:cxn modelId="{C1A15991-CA6F-4A2E-9F06-0586758EDD24}" type="presParOf" srcId="{0E5C99CB-8CFA-49D5-A73A-01608B8BF867}" destId="{C77FB5DD-B166-4F86-8CE7-3856C78F26B8}" srcOrd="2" destOrd="0" presId="urn:microsoft.com/office/officeart/2009/3/layout/SnapshotPictureList"/>
    <dgm:cxn modelId="{04D4B2E7-87D3-4E25-BCFF-EF31DD908322}" type="presParOf" srcId="{0E5C99CB-8CFA-49D5-A73A-01608B8BF867}" destId="{DF963FF3-509C-4EB6-ADB3-2C257F7BFCEE}" srcOrd="3" destOrd="0" presId="urn:microsoft.com/office/officeart/2009/3/layout/SnapshotPictureList"/>
    <dgm:cxn modelId="{76FB0FF0-69E3-43E1-BBD9-07E3A65EE1B5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ata48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51525" custScaleY="299360" custLinFactNeighborX="-184" custLinFactNeighborY="-15130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2000" r="-12000"/>
          </a:stretch>
        </a:blipFill>
      </dgm:spPr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96108C95-2BE6-4B23-B5DD-009298FFA5BB}" type="presOf" srcId="{492659FD-171D-4B9B-8F01-EC8B9BFB8AF5}" destId="{25CD0F31-D6F4-43F1-986E-D2D05F4123CB}" srcOrd="0" destOrd="0" presId="urn:microsoft.com/office/officeart/2009/3/layout/SnapshotPictureList"/>
    <dgm:cxn modelId="{D27826A4-2D9D-4B55-8FF8-D1ABE08D8D0A}" type="presOf" srcId="{AF16A61B-CACB-441B-8B4E-916A37A6FA8C}" destId="{4ADFCD1E-F86F-4980-949D-F2AA3FFA5232}" srcOrd="0" destOrd="0" presId="urn:microsoft.com/office/officeart/2009/3/layout/SnapshotPictureList"/>
    <dgm:cxn modelId="{3F8166CB-4038-4E35-AFB3-6D2C962FD503}" type="presParOf" srcId="{4ADFCD1E-F86F-4980-949D-F2AA3FFA5232}" destId="{0E5C99CB-8CFA-49D5-A73A-01608B8BF867}" srcOrd="0" destOrd="0" presId="urn:microsoft.com/office/officeart/2009/3/layout/SnapshotPictureList"/>
    <dgm:cxn modelId="{BA303F54-E57F-4EC0-9401-99B1D333052A}" type="presParOf" srcId="{0E5C99CB-8CFA-49D5-A73A-01608B8BF867}" destId="{3AE3D318-F4CD-468B-861E-A7E411945EC1}" srcOrd="0" destOrd="0" presId="urn:microsoft.com/office/officeart/2009/3/layout/SnapshotPictureList"/>
    <dgm:cxn modelId="{88D732E9-21B5-4DF7-8710-6861F00E694D}" type="presParOf" srcId="{0E5C99CB-8CFA-49D5-A73A-01608B8BF867}" destId="{25CD0F31-D6F4-43F1-986E-D2D05F4123CB}" srcOrd="1" destOrd="0" presId="urn:microsoft.com/office/officeart/2009/3/layout/SnapshotPictureList"/>
    <dgm:cxn modelId="{40117F85-4C02-428F-AD2C-B16F746014C3}" type="presParOf" srcId="{0E5C99CB-8CFA-49D5-A73A-01608B8BF867}" destId="{C77FB5DD-B166-4F86-8CE7-3856C78F26B8}" srcOrd="2" destOrd="0" presId="urn:microsoft.com/office/officeart/2009/3/layout/SnapshotPictureList"/>
    <dgm:cxn modelId="{54F93327-6ADF-4183-8050-303F45B77435}" type="presParOf" srcId="{0E5C99CB-8CFA-49D5-A73A-01608B8BF867}" destId="{DF963FF3-509C-4EB6-ADB3-2C257F7BFCEE}" srcOrd="3" destOrd="0" presId="urn:microsoft.com/office/officeart/2009/3/layout/SnapshotPictureList"/>
    <dgm:cxn modelId="{142E561A-908F-4D2E-A8B9-1A4352298038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28" minVer="http://schemas.openxmlformats.org/drawingml/2006/diagram"/>
    </a:ext>
  </dgm:extLst>
</dgm:dataModel>
</file>

<file path=ppt/diagrams/data49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44033" custScaleY="299360" custLinFactNeighborX="-10733" custLinFactNeighborY="-1427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</dgm:spPr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D1AD77B1-4472-4112-8225-A4F3A00879F5}" type="presOf" srcId="{AF16A61B-CACB-441B-8B4E-916A37A6FA8C}" destId="{4ADFCD1E-F86F-4980-949D-F2AA3FFA5232}" srcOrd="0" destOrd="0" presId="urn:microsoft.com/office/officeart/2009/3/layout/SnapshotPictureList"/>
    <dgm:cxn modelId="{BB726AD2-0726-4E8D-8C01-A5E911AA3424}" type="presOf" srcId="{492659FD-171D-4B9B-8F01-EC8B9BFB8AF5}" destId="{25CD0F31-D6F4-43F1-986E-D2D05F4123CB}" srcOrd="0" destOrd="0" presId="urn:microsoft.com/office/officeart/2009/3/layout/SnapshotPictureList"/>
    <dgm:cxn modelId="{7B1D643F-CF9C-422B-8E2F-EDE643FFB3E4}" type="presParOf" srcId="{4ADFCD1E-F86F-4980-949D-F2AA3FFA5232}" destId="{0E5C99CB-8CFA-49D5-A73A-01608B8BF867}" srcOrd="0" destOrd="0" presId="urn:microsoft.com/office/officeart/2009/3/layout/SnapshotPictureList"/>
    <dgm:cxn modelId="{B2CEEA03-530D-40DC-A85C-406BA748995D}" type="presParOf" srcId="{0E5C99CB-8CFA-49D5-A73A-01608B8BF867}" destId="{3AE3D318-F4CD-468B-861E-A7E411945EC1}" srcOrd="0" destOrd="0" presId="urn:microsoft.com/office/officeart/2009/3/layout/SnapshotPictureList"/>
    <dgm:cxn modelId="{2F6606EB-27E1-418C-A68C-24CDF8BC77D3}" type="presParOf" srcId="{0E5C99CB-8CFA-49D5-A73A-01608B8BF867}" destId="{25CD0F31-D6F4-43F1-986E-D2D05F4123CB}" srcOrd="1" destOrd="0" presId="urn:microsoft.com/office/officeart/2009/3/layout/SnapshotPictureList"/>
    <dgm:cxn modelId="{B0068981-A7A8-40E5-8D0C-730521CE96E6}" type="presParOf" srcId="{0E5C99CB-8CFA-49D5-A73A-01608B8BF867}" destId="{C77FB5DD-B166-4F86-8CE7-3856C78F26B8}" srcOrd="2" destOrd="0" presId="urn:microsoft.com/office/officeart/2009/3/layout/SnapshotPictureList"/>
    <dgm:cxn modelId="{EF6C201C-40FE-4CA7-8C17-34E6AEAC3892}" type="presParOf" srcId="{0E5C99CB-8CFA-49D5-A73A-01608B8BF867}" destId="{DF963FF3-509C-4EB6-ADB3-2C257F7BFCEE}" srcOrd="3" destOrd="0" presId="urn:microsoft.com/office/officeart/2009/3/layout/SnapshotPictureList"/>
    <dgm:cxn modelId="{D95D4071-AFF4-49E0-BAE7-F908D8B846F1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33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48977" custScaleY="299360" custLinFactNeighborX="-180" custLinFactNeighborY="-110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8F5F6AA9-93F6-4BEE-BC6F-CEA2C662D9FA}" type="presOf" srcId="{AF16A61B-CACB-441B-8B4E-916A37A6FA8C}" destId="{4ADFCD1E-F86F-4980-949D-F2AA3FFA5232}" srcOrd="0" destOrd="0" presId="urn:microsoft.com/office/officeart/2009/3/layout/SnapshotPictureList"/>
    <dgm:cxn modelId="{65579C01-124C-421B-BC17-9EA2D1DE8593}" type="presOf" srcId="{492659FD-171D-4B9B-8F01-EC8B9BFB8AF5}" destId="{25CD0F31-D6F4-43F1-986E-D2D05F4123CB}" srcOrd="0" destOrd="0" presId="urn:microsoft.com/office/officeart/2009/3/layout/SnapshotPictureList"/>
    <dgm:cxn modelId="{B2A677E4-0AB3-4D40-A3DB-F9780C788C5E}" type="presParOf" srcId="{4ADFCD1E-F86F-4980-949D-F2AA3FFA5232}" destId="{0E5C99CB-8CFA-49D5-A73A-01608B8BF867}" srcOrd="0" destOrd="0" presId="urn:microsoft.com/office/officeart/2009/3/layout/SnapshotPictureList"/>
    <dgm:cxn modelId="{87C44A1B-FBDC-4621-986B-67C2E3D30B76}" type="presParOf" srcId="{0E5C99CB-8CFA-49D5-A73A-01608B8BF867}" destId="{3AE3D318-F4CD-468B-861E-A7E411945EC1}" srcOrd="0" destOrd="0" presId="urn:microsoft.com/office/officeart/2009/3/layout/SnapshotPictureList"/>
    <dgm:cxn modelId="{FD1D24C2-3FAA-4F33-A1B1-D3E350BA0A09}" type="presParOf" srcId="{0E5C99CB-8CFA-49D5-A73A-01608B8BF867}" destId="{25CD0F31-D6F4-43F1-986E-D2D05F4123CB}" srcOrd="1" destOrd="0" presId="urn:microsoft.com/office/officeart/2009/3/layout/SnapshotPictureList"/>
    <dgm:cxn modelId="{0EDB2C15-C86E-4F1B-BE03-5AB0562A540F}" type="presParOf" srcId="{0E5C99CB-8CFA-49D5-A73A-01608B8BF867}" destId="{C77FB5DD-B166-4F86-8CE7-3856C78F26B8}" srcOrd="2" destOrd="0" presId="urn:microsoft.com/office/officeart/2009/3/layout/SnapshotPictureList"/>
    <dgm:cxn modelId="{716C0C64-AB97-4091-9F95-F501704231A2}" type="presParOf" srcId="{0E5C99CB-8CFA-49D5-A73A-01608B8BF867}" destId="{DF963FF3-509C-4EB6-ADB3-2C257F7BFCEE}" srcOrd="3" destOrd="0" presId="urn:microsoft.com/office/officeart/2009/3/layout/SnapshotPictureList"/>
    <dgm:cxn modelId="{83CF02A5-352C-4C48-8593-360A80851768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ata50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168175" custScaleY="226974" custLinFactNeighborY="-51949"/>
      <dgm:spPr/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596A5FBD-B01C-4380-ADDD-1A2A4B81A69D}" type="presOf" srcId="{492659FD-171D-4B9B-8F01-EC8B9BFB8AF5}" destId="{25CD0F31-D6F4-43F1-986E-D2D05F4123CB}" srcOrd="0" destOrd="0" presId="urn:microsoft.com/office/officeart/2009/3/layout/SnapshotPictureList"/>
    <dgm:cxn modelId="{5B390519-A0BA-4A14-8A4D-D1CB5EAC09FB}" type="presOf" srcId="{AF16A61B-CACB-441B-8B4E-916A37A6FA8C}" destId="{4ADFCD1E-F86F-4980-949D-F2AA3FFA5232}" srcOrd="0" destOrd="0" presId="urn:microsoft.com/office/officeart/2009/3/layout/SnapshotPictureList"/>
    <dgm:cxn modelId="{0B925DB0-35C9-4116-BB2A-B6B01D003CCE}" type="presParOf" srcId="{4ADFCD1E-F86F-4980-949D-F2AA3FFA5232}" destId="{0E5C99CB-8CFA-49D5-A73A-01608B8BF867}" srcOrd="0" destOrd="0" presId="urn:microsoft.com/office/officeart/2009/3/layout/SnapshotPictureList"/>
    <dgm:cxn modelId="{11E7DA88-0864-4C4B-845F-7F1694AA93C8}" type="presParOf" srcId="{0E5C99CB-8CFA-49D5-A73A-01608B8BF867}" destId="{3AE3D318-F4CD-468B-861E-A7E411945EC1}" srcOrd="0" destOrd="0" presId="urn:microsoft.com/office/officeart/2009/3/layout/SnapshotPictureList"/>
    <dgm:cxn modelId="{1759CA30-ECA0-44DD-B11C-AC7C7BD78D94}" type="presParOf" srcId="{0E5C99CB-8CFA-49D5-A73A-01608B8BF867}" destId="{25CD0F31-D6F4-43F1-986E-D2D05F4123CB}" srcOrd="1" destOrd="0" presId="urn:microsoft.com/office/officeart/2009/3/layout/SnapshotPictureList"/>
    <dgm:cxn modelId="{4D36AF2E-9158-4A99-8D14-9E001EFEDDF4}" type="presParOf" srcId="{0E5C99CB-8CFA-49D5-A73A-01608B8BF867}" destId="{C77FB5DD-B166-4F86-8CE7-3856C78F26B8}" srcOrd="2" destOrd="0" presId="urn:microsoft.com/office/officeart/2009/3/layout/SnapshotPictureList"/>
    <dgm:cxn modelId="{1D84E2A4-A981-4FF7-8594-D6C94B6C9300}" type="presParOf" srcId="{0E5C99CB-8CFA-49D5-A73A-01608B8BF867}" destId="{DF963FF3-509C-4EB6-ADB3-2C257F7BFCEE}" srcOrd="3" destOrd="0" presId="urn:microsoft.com/office/officeart/2009/3/layout/SnapshotPictureList"/>
    <dgm:cxn modelId="{1A8D964E-34B7-4D98-981D-6748C99C7E18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51525" custScaleY="299360" custLinFactNeighborX="-184" custLinFactNeighborY="-15130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2000" r="-12000"/>
          </a:stretch>
        </a:blipFill>
      </dgm:spPr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09FB3D25-29DA-4FEB-A372-A7E39D86F344}" type="presOf" srcId="{492659FD-171D-4B9B-8F01-EC8B9BFB8AF5}" destId="{25CD0F31-D6F4-43F1-986E-D2D05F4123CB}" srcOrd="0" destOrd="0" presId="urn:microsoft.com/office/officeart/2009/3/layout/SnapshotPictureList"/>
    <dgm:cxn modelId="{DC2B5245-A89A-48E2-ACD8-425C60A7B59F}" type="presOf" srcId="{AF16A61B-CACB-441B-8B4E-916A37A6FA8C}" destId="{4ADFCD1E-F86F-4980-949D-F2AA3FFA5232}" srcOrd="0" destOrd="0" presId="urn:microsoft.com/office/officeart/2009/3/layout/SnapshotPictureList"/>
    <dgm:cxn modelId="{BAD33671-0A93-4E0B-BC38-609A14684E9E}" type="presParOf" srcId="{4ADFCD1E-F86F-4980-949D-F2AA3FFA5232}" destId="{0E5C99CB-8CFA-49D5-A73A-01608B8BF867}" srcOrd="0" destOrd="0" presId="urn:microsoft.com/office/officeart/2009/3/layout/SnapshotPictureList"/>
    <dgm:cxn modelId="{3EF7214E-CF7A-4DEA-A0F6-ECE350972FDB}" type="presParOf" srcId="{0E5C99CB-8CFA-49D5-A73A-01608B8BF867}" destId="{3AE3D318-F4CD-468B-861E-A7E411945EC1}" srcOrd="0" destOrd="0" presId="urn:microsoft.com/office/officeart/2009/3/layout/SnapshotPictureList"/>
    <dgm:cxn modelId="{6AF3A7D6-8CF9-44C9-B1E3-4BC9318B6936}" type="presParOf" srcId="{0E5C99CB-8CFA-49D5-A73A-01608B8BF867}" destId="{25CD0F31-D6F4-43F1-986E-D2D05F4123CB}" srcOrd="1" destOrd="0" presId="urn:microsoft.com/office/officeart/2009/3/layout/SnapshotPictureList"/>
    <dgm:cxn modelId="{66874AAC-DDBA-434E-9EAA-B30293C71A14}" type="presParOf" srcId="{0E5C99CB-8CFA-49D5-A73A-01608B8BF867}" destId="{C77FB5DD-B166-4F86-8CE7-3856C78F26B8}" srcOrd="2" destOrd="0" presId="urn:microsoft.com/office/officeart/2009/3/layout/SnapshotPictureList"/>
    <dgm:cxn modelId="{F2A574BD-6A26-4A32-B1AF-F254304E2CB4}" type="presParOf" srcId="{0E5C99CB-8CFA-49D5-A73A-01608B8BF867}" destId="{DF963FF3-509C-4EB6-ADB3-2C257F7BFCEE}" srcOrd="3" destOrd="0" presId="urn:microsoft.com/office/officeart/2009/3/layout/SnapshotPictureList"/>
    <dgm:cxn modelId="{73D790A6-0D6A-45AB-AAB8-EC3BFEA4B548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28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244033" custScaleY="299360" custLinFactNeighborX="-10733" custLinFactNeighborY="-256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</dgm:spPr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C4AC935F-AC4E-4D5B-9DF4-1DEB9E248864}" type="presOf" srcId="{492659FD-171D-4B9B-8F01-EC8B9BFB8AF5}" destId="{25CD0F31-D6F4-43F1-986E-D2D05F4123CB}" srcOrd="0" destOrd="0" presId="urn:microsoft.com/office/officeart/2009/3/layout/SnapshotPictureList"/>
    <dgm:cxn modelId="{DD43CBA2-EE87-4CAF-8C19-3FAADC2E52C1}" type="presOf" srcId="{AF16A61B-CACB-441B-8B4E-916A37A6FA8C}" destId="{4ADFCD1E-F86F-4980-949D-F2AA3FFA5232}" srcOrd="0" destOrd="0" presId="urn:microsoft.com/office/officeart/2009/3/layout/SnapshotPictureList"/>
    <dgm:cxn modelId="{C73F6B74-C15A-439F-9245-590E1917B168}" type="presParOf" srcId="{4ADFCD1E-F86F-4980-949D-F2AA3FFA5232}" destId="{0E5C99CB-8CFA-49D5-A73A-01608B8BF867}" srcOrd="0" destOrd="0" presId="urn:microsoft.com/office/officeart/2009/3/layout/SnapshotPictureList"/>
    <dgm:cxn modelId="{37B35C62-1913-484C-AF19-C3EDB064202B}" type="presParOf" srcId="{0E5C99CB-8CFA-49D5-A73A-01608B8BF867}" destId="{3AE3D318-F4CD-468B-861E-A7E411945EC1}" srcOrd="0" destOrd="0" presId="urn:microsoft.com/office/officeart/2009/3/layout/SnapshotPictureList"/>
    <dgm:cxn modelId="{CF3C7F0A-38F0-4B9F-A409-0A186DCF5463}" type="presParOf" srcId="{0E5C99CB-8CFA-49D5-A73A-01608B8BF867}" destId="{25CD0F31-D6F4-43F1-986E-D2D05F4123CB}" srcOrd="1" destOrd="0" presId="urn:microsoft.com/office/officeart/2009/3/layout/SnapshotPictureList"/>
    <dgm:cxn modelId="{A24F4FD8-2122-4CA5-BD71-A3429F084CF3}" type="presParOf" srcId="{0E5C99CB-8CFA-49D5-A73A-01608B8BF867}" destId="{C77FB5DD-B166-4F86-8CE7-3856C78F26B8}" srcOrd="2" destOrd="0" presId="urn:microsoft.com/office/officeart/2009/3/layout/SnapshotPictureList"/>
    <dgm:cxn modelId="{76330110-1672-4625-AAAD-1E0E7BA4A64F}" type="presParOf" srcId="{0E5C99CB-8CFA-49D5-A73A-01608B8BF867}" destId="{DF963FF3-509C-4EB6-ADB3-2C257F7BFCEE}" srcOrd="3" destOrd="0" presId="urn:microsoft.com/office/officeart/2009/3/layout/SnapshotPictureList"/>
    <dgm:cxn modelId="{4C389645-790B-4F42-B6D3-5A2D4F4C1BE3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33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168175" custScaleY="226974" custLinFactNeighborY="-51949"/>
      <dgm:spPr/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281F2B71-A44F-4B1F-8F3A-C4AB34C029A0}" type="presOf" srcId="{492659FD-171D-4B9B-8F01-EC8B9BFB8AF5}" destId="{25CD0F31-D6F4-43F1-986E-D2D05F4123CB}" srcOrd="0" destOrd="0" presId="urn:microsoft.com/office/officeart/2009/3/layout/SnapshotPictureList"/>
    <dgm:cxn modelId="{5E433BF0-DF08-4C6F-9ABB-9F4F83264E4B}" type="presOf" srcId="{AF16A61B-CACB-441B-8B4E-916A37A6FA8C}" destId="{4ADFCD1E-F86F-4980-949D-F2AA3FFA5232}" srcOrd="0" destOrd="0" presId="urn:microsoft.com/office/officeart/2009/3/layout/SnapshotPictureList"/>
    <dgm:cxn modelId="{434EE6AB-724C-44C4-80C7-9C5116329617}" type="presParOf" srcId="{4ADFCD1E-F86F-4980-949D-F2AA3FFA5232}" destId="{0E5C99CB-8CFA-49D5-A73A-01608B8BF867}" srcOrd="0" destOrd="0" presId="urn:microsoft.com/office/officeart/2009/3/layout/SnapshotPictureList"/>
    <dgm:cxn modelId="{5D8B5095-06A4-4C76-BDC6-3ED5E2ADBFBC}" type="presParOf" srcId="{0E5C99CB-8CFA-49D5-A73A-01608B8BF867}" destId="{3AE3D318-F4CD-468B-861E-A7E411945EC1}" srcOrd="0" destOrd="0" presId="urn:microsoft.com/office/officeart/2009/3/layout/SnapshotPictureList"/>
    <dgm:cxn modelId="{1D7AB03B-D001-4BA6-9A32-AA62FA512C89}" type="presParOf" srcId="{0E5C99CB-8CFA-49D5-A73A-01608B8BF867}" destId="{25CD0F31-D6F4-43F1-986E-D2D05F4123CB}" srcOrd="1" destOrd="0" presId="urn:microsoft.com/office/officeart/2009/3/layout/SnapshotPictureList"/>
    <dgm:cxn modelId="{5B21C030-6942-4527-8957-A673ECD28A97}" type="presParOf" srcId="{0E5C99CB-8CFA-49D5-A73A-01608B8BF867}" destId="{C77FB5DD-B166-4F86-8CE7-3856C78F26B8}" srcOrd="2" destOrd="0" presId="urn:microsoft.com/office/officeart/2009/3/layout/SnapshotPictureList"/>
    <dgm:cxn modelId="{698E7356-C24D-460B-A963-6ADA3C6E1D8F}" type="presParOf" srcId="{0E5C99CB-8CFA-49D5-A73A-01608B8BF867}" destId="{DF963FF3-509C-4EB6-ADB3-2C257F7BFCEE}" srcOrd="3" destOrd="0" presId="urn:microsoft.com/office/officeart/2009/3/layout/SnapshotPictureList"/>
    <dgm:cxn modelId="{1F65E359-C887-4849-9D4C-3E5B40C4E04B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AF16A61B-CACB-441B-8B4E-916A37A6FA8C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92659FD-171D-4B9B-8F01-EC8B9BFB8AF5}">
      <dgm:prSet phldrT="[Texto]" custT="1"/>
      <dgm:spPr/>
      <dgm:t>
        <a:bodyPr anchor="t"/>
        <a:lstStyle/>
        <a:p>
          <a:pPr algn="ctr"/>
          <a:endParaRPr lang="pt-BR" sz="1400" dirty="0"/>
        </a:p>
      </dgm:t>
    </dgm:pt>
    <dgm:pt modelId="{57517D5A-0474-49C4-A1F6-4D3FD57B4619}" type="sibTrans" cxnId="{83558B21-4753-4EA4-BAE0-23BAE662A2DB}">
      <dgm:prSet/>
      <dgm:spPr/>
      <dgm:t>
        <a:bodyPr/>
        <a:lstStyle/>
        <a:p>
          <a:endParaRPr lang="pt-BR"/>
        </a:p>
      </dgm:t>
    </dgm:pt>
    <dgm:pt modelId="{2590BDD1-3BDC-4C70-A739-C0DE2E79239B}" type="parTrans" cxnId="{83558B21-4753-4EA4-BAE0-23BAE662A2DB}">
      <dgm:prSet/>
      <dgm:spPr/>
      <dgm:t>
        <a:bodyPr/>
        <a:lstStyle/>
        <a:p>
          <a:endParaRPr lang="pt-BR"/>
        </a:p>
      </dgm:t>
    </dgm:pt>
    <dgm:pt modelId="{4ADFCD1E-F86F-4980-949D-F2AA3FFA5232}" type="pres">
      <dgm:prSet presAssocID="{AF16A61B-CACB-441B-8B4E-916A37A6FA8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BR"/>
        </a:p>
      </dgm:t>
    </dgm:pt>
    <dgm:pt modelId="{0E5C99CB-8CFA-49D5-A73A-01608B8BF867}" type="pres">
      <dgm:prSet presAssocID="{492659FD-171D-4B9B-8F01-EC8B9BFB8AF5}" presName="composite" presStyleCnt="0"/>
      <dgm:spPr/>
    </dgm:pt>
    <dgm:pt modelId="{3AE3D318-F4CD-468B-861E-A7E411945EC1}" type="pres">
      <dgm:prSet presAssocID="{492659FD-171D-4B9B-8F01-EC8B9BFB8AF5}" presName="ParentAccentShape" presStyleLbl="trBgShp" presStyleIdx="0" presStyleCnt="1"/>
      <dgm:spPr/>
    </dgm:pt>
    <dgm:pt modelId="{25CD0F31-D6F4-43F1-986E-D2D05F4123CB}" type="pres">
      <dgm:prSet presAssocID="{492659FD-171D-4B9B-8F01-EC8B9BFB8AF5}" presName="ParentText" presStyleLbl="revTx" presStyleIdx="0" presStyleCnt="2" custScaleX="210734" custScaleY="847008" custLinFactY="200000" custLinFactNeighborX="-6193" custLinFactNeighborY="2925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7FB5DD-B166-4F86-8CE7-3856C78F26B8}" type="pres">
      <dgm:prSet presAssocID="{492659FD-171D-4B9B-8F01-EC8B9BFB8AF5}" presName="ChildText" presStyleLbl="revTx" presStyleIdx="1" presStyleCnt="2">
        <dgm:presLayoutVars>
          <dgm:chMax val="0"/>
          <dgm:chPref val="0"/>
        </dgm:presLayoutVars>
      </dgm:prSet>
      <dgm:spPr/>
    </dgm:pt>
    <dgm:pt modelId="{DF963FF3-509C-4EB6-ADB3-2C257F7BFCEE}" type="pres">
      <dgm:prSet presAssocID="{492659FD-171D-4B9B-8F01-EC8B9BFB8AF5}" presName="ChildAccentShape" presStyleLbl="trBgShp" presStyleIdx="0" presStyleCnt="1"/>
      <dgm:spPr/>
    </dgm:pt>
    <dgm:pt modelId="{67E63729-904F-4117-8122-AD34F6693785}" type="pres">
      <dgm:prSet presAssocID="{492659FD-171D-4B9B-8F01-EC8B9BFB8AF5}" presName="Image" presStyleLbl="alignImgPlace1" presStyleIdx="0" presStyleCnt="1" custScaleX="168175" custScaleY="226974" custLinFactNeighborY="-51949"/>
      <dgm:spPr/>
      <dgm:t>
        <a:bodyPr/>
        <a:lstStyle/>
        <a:p>
          <a:endParaRPr lang="pt-BR"/>
        </a:p>
      </dgm:t>
    </dgm:pt>
  </dgm:ptLst>
  <dgm:cxnLst>
    <dgm:cxn modelId="{83558B21-4753-4EA4-BAE0-23BAE662A2DB}" srcId="{AF16A61B-CACB-441B-8B4E-916A37A6FA8C}" destId="{492659FD-171D-4B9B-8F01-EC8B9BFB8AF5}" srcOrd="0" destOrd="0" parTransId="{2590BDD1-3BDC-4C70-A739-C0DE2E79239B}" sibTransId="{57517D5A-0474-49C4-A1F6-4D3FD57B4619}"/>
    <dgm:cxn modelId="{74B63DEC-6DED-4DA9-B2C2-0AC3110635E1}" type="presOf" srcId="{492659FD-171D-4B9B-8F01-EC8B9BFB8AF5}" destId="{25CD0F31-D6F4-43F1-986E-D2D05F4123CB}" srcOrd="0" destOrd="0" presId="urn:microsoft.com/office/officeart/2009/3/layout/SnapshotPictureList"/>
    <dgm:cxn modelId="{E3FF297D-1D22-4600-BFF2-8529C16F8616}" type="presOf" srcId="{AF16A61B-CACB-441B-8B4E-916A37A6FA8C}" destId="{4ADFCD1E-F86F-4980-949D-F2AA3FFA5232}" srcOrd="0" destOrd="0" presId="urn:microsoft.com/office/officeart/2009/3/layout/SnapshotPictureList"/>
    <dgm:cxn modelId="{853C8178-2398-4036-8B38-9280C9746740}" type="presParOf" srcId="{4ADFCD1E-F86F-4980-949D-F2AA3FFA5232}" destId="{0E5C99CB-8CFA-49D5-A73A-01608B8BF867}" srcOrd="0" destOrd="0" presId="urn:microsoft.com/office/officeart/2009/3/layout/SnapshotPictureList"/>
    <dgm:cxn modelId="{81FEA295-A7BF-494E-AA1B-08323EA1A537}" type="presParOf" srcId="{0E5C99CB-8CFA-49D5-A73A-01608B8BF867}" destId="{3AE3D318-F4CD-468B-861E-A7E411945EC1}" srcOrd="0" destOrd="0" presId="urn:microsoft.com/office/officeart/2009/3/layout/SnapshotPictureList"/>
    <dgm:cxn modelId="{B43310AF-6D07-48B8-8C31-91B6899F28C8}" type="presParOf" srcId="{0E5C99CB-8CFA-49D5-A73A-01608B8BF867}" destId="{25CD0F31-D6F4-43F1-986E-D2D05F4123CB}" srcOrd="1" destOrd="0" presId="urn:microsoft.com/office/officeart/2009/3/layout/SnapshotPictureList"/>
    <dgm:cxn modelId="{4D9388A9-44BD-401D-A989-8FE2AE169E2A}" type="presParOf" srcId="{0E5C99CB-8CFA-49D5-A73A-01608B8BF867}" destId="{C77FB5DD-B166-4F86-8CE7-3856C78F26B8}" srcOrd="2" destOrd="0" presId="urn:microsoft.com/office/officeart/2009/3/layout/SnapshotPictureList"/>
    <dgm:cxn modelId="{E9053AA4-C6ED-4CC9-A266-438F69674727}" type="presParOf" srcId="{0E5C99CB-8CFA-49D5-A73A-01608B8BF867}" destId="{DF963FF3-509C-4EB6-ADB3-2C257F7BFCEE}" srcOrd="3" destOrd="0" presId="urn:microsoft.com/office/officeart/2009/3/layout/SnapshotPictureList"/>
    <dgm:cxn modelId="{58C181D8-499E-40E3-8B16-D94147FB31BF}" type="presParOf" srcId="{0E5C99CB-8CFA-49D5-A73A-01608B8BF867}" destId="{67E63729-904F-4117-8122-AD34F6693785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815C27-9299-4A10-BA69-3681FDE9BA88}">
      <dsp:nvSpPr>
        <dsp:cNvPr id="0" name=""/>
        <dsp:cNvSpPr/>
      </dsp:nvSpPr>
      <dsp:spPr>
        <a:xfrm>
          <a:off x="869525" y="0"/>
          <a:ext cx="785220" cy="558771"/>
        </a:xfrm>
        <a:prstGeom prst="frame">
          <a:avLst>
            <a:gd name="adj1" fmla="val 5450"/>
          </a:avLst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F078F8-465A-4EBE-8452-00EAE3CB1D3E}">
      <dsp:nvSpPr>
        <dsp:cNvPr id="0" name=""/>
        <dsp:cNvSpPr/>
      </dsp:nvSpPr>
      <dsp:spPr>
        <a:xfrm>
          <a:off x="128332" y="0"/>
          <a:ext cx="1526413" cy="1304417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E68462-38E2-44E8-8E14-735108AD2FE1}">
      <dsp:nvSpPr>
        <dsp:cNvPr id="0" name=""/>
        <dsp:cNvSpPr/>
      </dsp:nvSpPr>
      <dsp:spPr>
        <a:xfrm>
          <a:off x="446842" y="1056550"/>
          <a:ext cx="724331" cy="663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19050" rIns="50800" bIns="19050" numCol="1" spcCol="1270" anchor="ctr" anchorCtr="0">
          <a:noAutofit/>
        </a:bodyPr>
        <a:lstStyle/>
        <a:p>
          <a:pPr lvl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500" kern="1200" dirty="0"/>
        </a:p>
      </dsp:txBody>
      <dsp:txXfrm>
        <a:off x="446842" y="1056550"/>
        <a:ext cx="724331" cy="66326"/>
      </dsp:txXfrm>
    </dsp:sp>
    <dsp:sp modelId="{64CC9846-EE27-470E-B014-4F1AAA106133}">
      <dsp:nvSpPr>
        <dsp:cNvPr id="0" name=""/>
        <dsp:cNvSpPr/>
      </dsp:nvSpPr>
      <dsp:spPr>
        <a:xfrm>
          <a:off x="1233332" y="594765"/>
          <a:ext cx="358994" cy="5587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E3D318-F4CD-468B-861E-A7E411945EC1}">
      <dsp:nvSpPr>
        <dsp:cNvPr id="0" name=""/>
        <dsp:cNvSpPr/>
      </dsp:nvSpPr>
      <dsp:spPr>
        <a:xfrm>
          <a:off x="320638" y="513455"/>
          <a:ext cx="678962" cy="483157"/>
        </a:xfrm>
        <a:prstGeom prst="frame">
          <a:avLst>
            <a:gd name="adj1" fmla="val 5450"/>
          </a:avLst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E63729-904F-4117-8122-AD34F6693785}">
      <dsp:nvSpPr>
        <dsp:cNvPr id="0" name=""/>
        <dsp:cNvSpPr/>
      </dsp:nvSpPr>
      <dsp:spPr>
        <a:xfrm>
          <a:off x="71990" y="0"/>
          <a:ext cx="1097942" cy="1037327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CD0F31-D6F4-43F1-986E-D2D05F4123CB}">
      <dsp:nvSpPr>
        <dsp:cNvPr id="0" name=""/>
        <dsp:cNvSpPr/>
      </dsp:nvSpPr>
      <dsp:spPr>
        <a:xfrm>
          <a:off x="0" y="882381"/>
          <a:ext cx="1319854" cy="4857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53340" rIns="142240" bIns="53340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400" kern="1200" dirty="0"/>
        </a:p>
      </dsp:txBody>
      <dsp:txXfrm>
        <a:off x="0" y="882381"/>
        <a:ext cx="1319854" cy="485770"/>
      </dsp:txXfrm>
    </dsp:sp>
    <dsp:sp modelId="{C77FB5DD-B166-4F86-8CE7-3856C78F26B8}">
      <dsp:nvSpPr>
        <dsp:cNvPr id="0" name=""/>
        <dsp:cNvSpPr/>
      </dsp:nvSpPr>
      <dsp:spPr>
        <a:xfrm>
          <a:off x="1027242" y="513455"/>
          <a:ext cx="310414" cy="4831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E3D318-F4CD-468B-861E-A7E411945EC1}">
      <dsp:nvSpPr>
        <dsp:cNvPr id="0" name=""/>
        <dsp:cNvSpPr/>
      </dsp:nvSpPr>
      <dsp:spPr>
        <a:xfrm>
          <a:off x="320638" y="513455"/>
          <a:ext cx="678962" cy="483157"/>
        </a:xfrm>
        <a:prstGeom prst="frame">
          <a:avLst>
            <a:gd name="adj1" fmla="val 5450"/>
          </a:avLst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E63729-904F-4117-8122-AD34F6693785}">
      <dsp:nvSpPr>
        <dsp:cNvPr id="0" name=""/>
        <dsp:cNvSpPr/>
      </dsp:nvSpPr>
      <dsp:spPr>
        <a:xfrm>
          <a:off x="71990" y="0"/>
          <a:ext cx="1097942" cy="1037327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CD0F31-D6F4-43F1-986E-D2D05F4123CB}">
      <dsp:nvSpPr>
        <dsp:cNvPr id="0" name=""/>
        <dsp:cNvSpPr/>
      </dsp:nvSpPr>
      <dsp:spPr>
        <a:xfrm>
          <a:off x="0" y="882381"/>
          <a:ext cx="1319854" cy="4857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53340" rIns="142240" bIns="53340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400" kern="1200" dirty="0"/>
        </a:p>
      </dsp:txBody>
      <dsp:txXfrm>
        <a:off x="0" y="882381"/>
        <a:ext cx="1319854" cy="485770"/>
      </dsp:txXfrm>
    </dsp:sp>
    <dsp:sp modelId="{C77FB5DD-B166-4F86-8CE7-3856C78F26B8}">
      <dsp:nvSpPr>
        <dsp:cNvPr id="0" name=""/>
        <dsp:cNvSpPr/>
      </dsp:nvSpPr>
      <dsp:spPr>
        <a:xfrm>
          <a:off x="1027242" y="513455"/>
          <a:ext cx="310414" cy="4831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E3D318-F4CD-468B-861E-A7E411945EC1}">
      <dsp:nvSpPr>
        <dsp:cNvPr id="0" name=""/>
        <dsp:cNvSpPr/>
      </dsp:nvSpPr>
      <dsp:spPr>
        <a:xfrm>
          <a:off x="320638" y="513455"/>
          <a:ext cx="678962" cy="483157"/>
        </a:xfrm>
        <a:prstGeom prst="frame">
          <a:avLst>
            <a:gd name="adj1" fmla="val 5450"/>
          </a:avLst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E63729-904F-4117-8122-AD34F6693785}">
      <dsp:nvSpPr>
        <dsp:cNvPr id="0" name=""/>
        <dsp:cNvSpPr/>
      </dsp:nvSpPr>
      <dsp:spPr>
        <a:xfrm>
          <a:off x="71990" y="0"/>
          <a:ext cx="1097942" cy="1037327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CD0F31-D6F4-43F1-986E-D2D05F4123CB}">
      <dsp:nvSpPr>
        <dsp:cNvPr id="0" name=""/>
        <dsp:cNvSpPr/>
      </dsp:nvSpPr>
      <dsp:spPr>
        <a:xfrm>
          <a:off x="0" y="882381"/>
          <a:ext cx="1319854" cy="4857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53340" rIns="142240" bIns="53340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400" kern="1200" dirty="0"/>
        </a:p>
      </dsp:txBody>
      <dsp:txXfrm>
        <a:off x="0" y="882381"/>
        <a:ext cx="1319854" cy="485770"/>
      </dsp:txXfrm>
    </dsp:sp>
    <dsp:sp modelId="{C77FB5DD-B166-4F86-8CE7-3856C78F26B8}">
      <dsp:nvSpPr>
        <dsp:cNvPr id="0" name=""/>
        <dsp:cNvSpPr/>
      </dsp:nvSpPr>
      <dsp:spPr>
        <a:xfrm>
          <a:off x="1027242" y="513455"/>
          <a:ext cx="310414" cy="4831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E3D318-F4CD-468B-861E-A7E411945EC1}">
      <dsp:nvSpPr>
        <dsp:cNvPr id="0" name=""/>
        <dsp:cNvSpPr/>
      </dsp:nvSpPr>
      <dsp:spPr>
        <a:xfrm>
          <a:off x="320638" y="513455"/>
          <a:ext cx="678962" cy="483157"/>
        </a:xfrm>
        <a:prstGeom prst="frame">
          <a:avLst>
            <a:gd name="adj1" fmla="val 5450"/>
          </a:avLst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E63729-904F-4117-8122-AD34F6693785}">
      <dsp:nvSpPr>
        <dsp:cNvPr id="0" name=""/>
        <dsp:cNvSpPr/>
      </dsp:nvSpPr>
      <dsp:spPr>
        <a:xfrm>
          <a:off x="71990" y="0"/>
          <a:ext cx="1097942" cy="1037327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CD0F31-D6F4-43F1-986E-D2D05F4123CB}">
      <dsp:nvSpPr>
        <dsp:cNvPr id="0" name=""/>
        <dsp:cNvSpPr/>
      </dsp:nvSpPr>
      <dsp:spPr>
        <a:xfrm>
          <a:off x="0" y="882381"/>
          <a:ext cx="1319854" cy="4857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53340" rIns="142240" bIns="53340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400" kern="1200" dirty="0"/>
        </a:p>
      </dsp:txBody>
      <dsp:txXfrm>
        <a:off x="0" y="882381"/>
        <a:ext cx="1319854" cy="485770"/>
      </dsp:txXfrm>
    </dsp:sp>
    <dsp:sp modelId="{C77FB5DD-B166-4F86-8CE7-3856C78F26B8}">
      <dsp:nvSpPr>
        <dsp:cNvPr id="0" name=""/>
        <dsp:cNvSpPr/>
      </dsp:nvSpPr>
      <dsp:spPr>
        <a:xfrm>
          <a:off x="1027242" y="513455"/>
          <a:ext cx="310414" cy="4831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E3D318-F4CD-468B-861E-A7E411945EC1}">
      <dsp:nvSpPr>
        <dsp:cNvPr id="0" name=""/>
        <dsp:cNvSpPr/>
      </dsp:nvSpPr>
      <dsp:spPr>
        <a:xfrm>
          <a:off x="320638" y="513455"/>
          <a:ext cx="678962" cy="483157"/>
        </a:xfrm>
        <a:prstGeom prst="frame">
          <a:avLst>
            <a:gd name="adj1" fmla="val 5450"/>
          </a:avLst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E63729-904F-4117-8122-AD34F6693785}">
      <dsp:nvSpPr>
        <dsp:cNvPr id="0" name=""/>
        <dsp:cNvSpPr/>
      </dsp:nvSpPr>
      <dsp:spPr>
        <a:xfrm>
          <a:off x="71990" y="0"/>
          <a:ext cx="1097942" cy="1037327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CD0F31-D6F4-43F1-986E-D2D05F4123CB}">
      <dsp:nvSpPr>
        <dsp:cNvPr id="0" name=""/>
        <dsp:cNvSpPr/>
      </dsp:nvSpPr>
      <dsp:spPr>
        <a:xfrm>
          <a:off x="0" y="882381"/>
          <a:ext cx="1319854" cy="4857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53340" rIns="142240" bIns="53340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400" kern="1200" dirty="0"/>
        </a:p>
      </dsp:txBody>
      <dsp:txXfrm>
        <a:off x="0" y="882381"/>
        <a:ext cx="1319854" cy="485770"/>
      </dsp:txXfrm>
    </dsp:sp>
    <dsp:sp modelId="{C77FB5DD-B166-4F86-8CE7-3856C78F26B8}">
      <dsp:nvSpPr>
        <dsp:cNvPr id="0" name=""/>
        <dsp:cNvSpPr/>
      </dsp:nvSpPr>
      <dsp:spPr>
        <a:xfrm>
          <a:off x="1027242" y="513455"/>
          <a:ext cx="310414" cy="4831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E3D318-F4CD-468B-861E-A7E411945EC1}">
      <dsp:nvSpPr>
        <dsp:cNvPr id="0" name=""/>
        <dsp:cNvSpPr/>
      </dsp:nvSpPr>
      <dsp:spPr>
        <a:xfrm>
          <a:off x="564233" y="592386"/>
          <a:ext cx="728929" cy="518714"/>
        </a:xfrm>
        <a:prstGeom prst="frame">
          <a:avLst>
            <a:gd name="adj1" fmla="val 5450"/>
          </a:avLst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E63729-904F-4117-8122-AD34F6693785}">
      <dsp:nvSpPr>
        <dsp:cNvPr id="0" name=""/>
        <dsp:cNvSpPr/>
      </dsp:nvSpPr>
      <dsp:spPr>
        <a:xfrm>
          <a:off x="1" y="0"/>
          <a:ext cx="1773313" cy="154948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CD0F31-D6F4-43F1-986E-D2D05F4123CB}">
      <dsp:nvSpPr>
        <dsp:cNvPr id="0" name=""/>
        <dsp:cNvSpPr/>
      </dsp:nvSpPr>
      <dsp:spPr>
        <a:xfrm>
          <a:off x="178798" y="1029607"/>
          <a:ext cx="1416986" cy="5215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53340" rIns="142240" bIns="53340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400" kern="1200" dirty="0"/>
        </a:p>
      </dsp:txBody>
      <dsp:txXfrm>
        <a:off x="178798" y="1029607"/>
        <a:ext cx="1416986" cy="521519"/>
      </dsp:txXfrm>
    </dsp:sp>
    <dsp:sp modelId="{C77FB5DD-B166-4F86-8CE7-3856C78F26B8}">
      <dsp:nvSpPr>
        <dsp:cNvPr id="0" name=""/>
        <dsp:cNvSpPr/>
      </dsp:nvSpPr>
      <dsp:spPr>
        <a:xfrm>
          <a:off x="1322838" y="592386"/>
          <a:ext cx="333258" cy="5187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E3D318-F4CD-468B-861E-A7E411945EC1}">
      <dsp:nvSpPr>
        <dsp:cNvPr id="0" name=""/>
        <dsp:cNvSpPr/>
      </dsp:nvSpPr>
      <dsp:spPr>
        <a:xfrm>
          <a:off x="320638" y="513455"/>
          <a:ext cx="678962" cy="483157"/>
        </a:xfrm>
        <a:prstGeom prst="frame">
          <a:avLst>
            <a:gd name="adj1" fmla="val 5450"/>
          </a:avLst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E63729-904F-4117-8122-AD34F6693785}">
      <dsp:nvSpPr>
        <dsp:cNvPr id="0" name=""/>
        <dsp:cNvSpPr/>
      </dsp:nvSpPr>
      <dsp:spPr>
        <a:xfrm>
          <a:off x="71990" y="0"/>
          <a:ext cx="1097942" cy="1037327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CD0F31-D6F4-43F1-986E-D2D05F4123CB}">
      <dsp:nvSpPr>
        <dsp:cNvPr id="0" name=""/>
        <dsp:cNvSpPr/>
      </dsp:nvSpPr>
      <dsp:spPr>
        <a:xfrm>
          <a:off x="0" y="882381"/>
          <a:ext cx="1319854" cy="4857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53340" rIns="142240" bIns="53340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400" kern="1200" dirty="0"/>
        </a:p>
      </dsp:txBody>
      <dsp:txXfrm>
        <a:off x="0" y="882381"/>
        <a:ext cx="1319854" cy="485770"/>
      </dsp:txXfrm>
    </dsp:sp>
    <dsp:sp modelId="{C77FB5DD-B166-4F86-8CE7-3856C78F26B8}">
      <dsp:nvSpPr>
        <dsp:cNvPr id="0" name=""/>
        <dsp:cNvSpPr/>
      </dsp:nvSpPr>
      <dsp:spPr>
        <a:xfrm>
          <a:off x="1027242" y="513455"/>
          <a:ext cx="310414" cy="4831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E3D318-F4CD-468B-861E-A7E411945EC1}">
      <dsp:nvSpPr>
        <dsp:cNvPr id="0" name=""/>
        <dsp:cNvSpPr/>
      </dsp:nvSpPr>
      <dsp:spPr>
        <a:xfrm>
          <a:off x="690717" y="567342"/>
          <a:ext cx="799096" cy="568645"/>
        </a:xfrm>
        <a:prstGeom prst="frame">
          <a:avLst>
            <a:gd name="adj1" fmla="val 5450"/>
          </a:avLst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E63729-904F-4117-8122-AD34F6693785}">
      <dsp:nvSpPr>
        <dsp:cNvPr id="0" name=""/>
        <dsp:cNvSpPr/>
      </dsp:nvSpPr>
      <dsp:spPr>
        <a:xfrm>
          <a:off x="3" y="0"/>
          <a:ext cx="1867135" cy="1534259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6000" r="-16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CD0F31-D6F4-43F1-986E-D2D05F4123CB}">
      <dsp:nvSpPr>
        <dsp:cNvPr id="0" name=""/>
        <dsp:cNvSpPr/>
      </dsp:nvSpPr>
      <dsp:spPr>
        <a:xfrm>
          <a:off x="268180" y="964582"/>
          <a:ext cx="1553385" cy="5717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53340" rIns="142240" bIns="53340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400" kern="1200" dirty="0"/>
        </a:p>
      </dsp:txBody>
      <dsp:txXfrm>
        <a:off x="268180" y="964582"/>
        <a:ext cx="1553385" cy="571720"/>
      </dsp:txXfrm>
    </dsp:sp>
    <dsp:sp modelId="{C77FB5DD-B166-4F86-8CE7-3856C78F26B8}">
      <dsp:nvSpPr>
        <dsp:cNvPr id="0" name=""/>
        <dsp:cNvSpPr/>
      </dsp:nvSpPr>
      <dsp:spPr>
        <a:xfrm>
          <a:off x="1522345" y="567342"/>
          <a:ext cx="365338" cy="5686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E3D318-F4CD-468B-861E-A7E411945EC1}">
      <dsp:nvSpPr>
        <dsp:cNvPr id="0" name=""/>
        <dsp:cNvSpPr/>
      </dsp:nvSpPr>
      <dsp:spPr>
        <a:xfrm>
          <a:off x="542976" y="599692"/>
          <a:ext cx="717815" cy="510805"/>
        </a:xfrm>
        <a:prstGeom prst="frame">
          <a:avLst>
            <a:gd name="adj1" fmla="val 5450"/>
          </a:avLst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E63729-904F-4117-8122-AD34F6693785}">
      <dsp:nvSpPr>
        <dsp:cNvPr id="0" name=""/>
        <dsp:cNvSpPr/>
      </dsp:nvSpPr>
      <dsp:spPr>
        <a:xfrm>
          <a:off x="2" y="51506"/>
          <a:ext cx="1718480" cy="144644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CD0F31-D6F4-43F1-986E-D2D05F4123CB}">
      <dsp:nvSpPr>
        <dsp:cNvPr id="0" name=""/>
        <dsp:cNvSpPr/>
      </dsp:nvSpPr>
      <dsp:spPr>
        <a:xfrm>
          <a:off x="163417" y="1046584"/>
          <a:ext cx="1395382" cy="5135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53340" rIns="142240" bIns="53340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400" kern="1200" dirty="0"/>
        </a:p>
      </dsp:txBody>
      <dsp:txXfrm>
        <a:off x="163417" y="1046584"/>
        <a:ext cx="1395382" cy="513567"/>
      </dsp:txXfrm>
    </dsp:sp>
    <dsp:sp modelId="{C77FB5DD-B166-4F86-8CE7-3856C78F26B8}">
      <dsp:nvSpPr>
        <dsp:cNvPr id="0" name=""/>
        <dsp:cNvSpPr/>
      </dsp:nvSpPr>
      <dsp:spPr>
        <a:xfrm>
          <a:off x="1290014" y="599692"/>
          <a:ext cx="328177" cy="5108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E3D318-F4CD-468B-861E-A7E411945EC1}">
      <dsp:nvSpPr>
        <dsp:cNvPr id="0" name=""/>
        <dsp:cNvSpPr/>
      </dsp:nvSpPr>
      <dsp:spPr>
        <a:xfrm>
          <a:off x="558308" y="551203"/>
          <a:ext cx="726288" cy="516834"/>
        </a:xfrm>
        <a:prstGeom prst="frame">
          <a:avLst>
            <a:gd name="adj1" fmla="val 5450"/>
          </a:avLst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E63729-904F-4117-8122-AD34F6693785}">
      <dsp:nvSpPr>
        <dsp:cNvPr id="0" name=""/>
        <dsp:cNvSpPr/>
      </dsp:nvSpPr>
      <dsp:spPr>
        <a:xfrm>
          <a:off x="0" y="0"/>
          <a:ext cx="1756558" cy="146351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2000" r="-12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CD0F31-D6F4-43F1-986E-D2D05F4123CB}">
      <dsp:nvSpPr>
        <dsp:cNvPr id="0" name=""/>
        <dsp:cNvSpPr/>
      </dsp:nvSpPr>
      <dsp:spPr>
        <a:xfrm>
          <a:off x="174269" y="947802"/>
          <a:ext cx="1411851" cy="51962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53340" rIns="142240" bIns="53340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400" kern="1200" dirty="0"/>
        </a:p>
      </dsp:txBody>
      <dsp:txXfrm>
        <a:off x="174269" y="947802"/>
        <a:ext cx="1411851" cy="519629"/>
      </dsp:txXfrm>
    </dsp:sp>
    <dsp:sp modelId="{C77FB5DD-B166-4F86-8CE7-3856C78F26B8}">
      <dsp:nvSpPr>
        <dsp:cNvPr id="0" name=""/>
        <dsp:cNvSpPr/>
      </dsp:nvSpPr>
      <dsp:spPr>
        <a:xfrm>
          <a:off x="1314164" y="551203"/>
          <a:ext cx="332051" cy="516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E3D318-F4CD-468B-861E-A7E411945EC1}">
      <dsp:nvSpPr>
        <dsp:cNvPr id="0" name=""/>
        <dsp:cNvSpPr/>
      </dsp:nvSpPr>
      <dsp:spPr>
        <a:xfrm>
          <a:off x="625885" y="567524"/>
          <a:ext cx="750350" cy="533957"/>
        </a:xfrm>
        <a:prstGeom prst="frame">
          <a:avLst>
            <a:gd name="adj1" fmla="val 5450"/>
          </a:avLst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E63729-904F-4117-8122-AD34F6693785}">
      <dsp:nvSpPr>
        <dsp:cNvPr id="0" name=""/>
        <dsp:cNvSpPr/>
      </dsp:nvSpPr>
      <dsp:spPr>
        <a:xfrm>
          <a:off x="0" y="0"/>
          <a:ext cx="1760697" cy="151199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CD0F31-D6F4-43F1-986E-D2D05F4123CB}">
      <dsp:nvSpPr>
        <dsp:cNvPr id="0" name=""/>
        <dsp:cNvSpPr/>
      </dsp:nvSpPr>
      <dsp:spPr>
        <a:xfrm>
          <a:off x="229124" y="975323"/>
          <a:ext cx="1458626" cy="5368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53340" rIns="142240" bIns="53340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400" kern="1200" dirty="0"/>
        </a:p>
      </dsp:txBody>
      <dsp:txXfrm>
        <a:off x="229124" y="975323"/>
        <a:ext cx="1458626" cy="536844"/>
      </dsp:txXfrm>
    </dsp:sp>
    <dsp:sp modelId="{C77FB5DD-B166-4F86-8CE7-3856C78F26B8}">
      <dsp:nvSpPr>
        <dsp:cNvPr id="0" name=""/>
        <dsp:cNvSpPr/>
      </dsp:nvSpPr>
      <dsp:spPr>
        <a:xfrm>
          <a:off x="1406783" y="567524"/>
          <a:ext cx="343051" cy="5339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E3D318-F4CD-468B-861E-A7E411945EC1}">
      <dsp:nvSpPr>
        <dsp:cNvPr id="0" name=""/>
        <dsp:cNvSpPr/>
      </dsp:nvSpPr>
      <dsp:spPr>
        <a:xfrm>
          <a:off x="320638" y="513455"/>
          <a:ext cx="678962" cy="483157"/>
        </a:xfrm>
        <a:prstGeom prst="frame">
          <a:avLst>
            <a:gd name="adj1" fmla="val 5450"/>
          </a:avLst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E63729-904F-4117-8122-AD34F6693785}">
      <dsp:nvSpPr>
        <dsp:cNvPr id="0" name=""/>
        <dsp:cNvSpPr/>
      </dsp:nvSpPr>
      <dsp:spPr>
        <a:xfrm>
          <a:off x="71990" y="0"/>
          <a:ext cx="1097942" cy="1037327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CD0F31-D6F4-43F1-986E-D2D05F4123CB}">
      <dsp:nvSpPr>
        <dsp:cNvPr id="0" name=""/>
        <dsp:cNvSpPr/>
      </dsp:nvSpPr>
      <dsp:spPr>
        <a:xfrm>
          <a:off x="0" y="882381"/>
          <a:ext cx="1319854" cy="4857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53340" rIns="142240" bIns="53340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400" kern="1200" dirty="0"/>
        </a:p>
      </dsp:txBody>
      <dsp:txXfrm>
        <a:off x="0" y="882381"/>
        <a:ext cx="1319854" cy="485770"/>
      </dsp:txXfrm>
    </dsp:sp>
    <dsp:sp modelId="{C77FB5DD-B166-4F86-8CE7-3856C78F26B8}">
      <dsp:nvSpPr>
        <dsp:cNvPr id="0" name=""/>
        <dsp:cNvSpPr/>
      </dsp:nvSpPr>
      <dsp:spPr>
        <a:xfrm>
          <a:off x="1027242" y="513455"/>
          <a:ext cx="310414" cy="4831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4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5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6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7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8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9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0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1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2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3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4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5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6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7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8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9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0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1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2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3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4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5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6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7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8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9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50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emf"/><Relationship Id="rId1" Type="http://schemas.openxmlformats.org/officeDocument/2006/relationships/image" Target="../media/image25.emf"/><Relationship Id="rId5" Type="http://schemas.openxmlformats.org/officeDocument/2006/relationships/image" Target="../media/image29.emf"/><Relationship Id="rId4" Type="http://schemas.openxmlformats.org/officeDocument/2006/relationships/image" Target="../media/image2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98C20A0-167D-48D1-81EB-72D2EE56EE98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t-BR" noProof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pt-BR" noProof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3B5C1512-077D-45AF-A66A-B5687A0D935D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846213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R"/>
            </a:pPr>
            <a:r>
              <a:rPr lang="pt-BR" dirty="0" smtClean="0"/>
              <a:t>Dividir anos em </a:t>
            </a:r>
            <a:r>
              <a:rPr lang="pt-BR" dirty="0" err="1" smtClean="0"/>
              <a:t>quarters</a:t>
            </a:r>
            <a:r>
              <a:rPr lang="pt-BR" dirty="0" smtClean="0"/>
              <a:t> (dimensão</a:t>
            </a:r>
            <a:r>
              <a:rPr lang="pt-BR" baseline="0" dirty="0" smtClean="0"/>
              <a:t> das barras em, trimestres)</a:t>
            </a:r>
          </a:p>
          <a:p>
            <a:pPr marL="228600" indent="-228600">
              <a:buAutoNum type="arabicParenR"/>
            </a:pPr>
            <a:r>
              <a:rPr lang="pt-BR" baseline="0" dirty="0" smtClean="0"/>
              <a:t>Vamos colocar indicação de público em </a:t>
            </a:r>
            <a:r>
              <a:rPr lang="pt-BR" baseline="0" smtClean="0"/>
              <a:t>“Aplicação” ?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BE1A52-EE5D-48E0-9EA0-A1656DA0E001}" type="slidenum">
              <a:rPr lang="pt-BR" smtClean="0">
                <a:solidFill>
                  <a:prstClr val="black"/>
                </a:solidFill>
              </a:rPr>
              <a:pPr/>
              <a:t>24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355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O que cada projeto entrega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BE1A52-EE5D-48E0-9EA0-A1656DA0E001}" type="slidenum">
              <a:rPr lang="pt-BR" smtClean="0"/>
              <a:pPr/>
              <a:t>2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299579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BDC4FB-CC4D-4547-AC3E-17872E14A7F2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4AC71A-E7AF-4168-907E-AA5B4BEA1B7F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A59927-5E52-4048-AA85-F716D29C39BC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6FC54A-C1B5-4646-8254-29C416BB1224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328BAE-F484-460C-981A-8B68ED6E674F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0CE26E-33A6-44BA-A958-666DEEEDE2D3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03BEB2CD-BE83-4C11-861F-4F5220A9A4DD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A6860679-8E75-4731-8AC9-7641EEBCD423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20D222-B3E9-427E-8B15-87FE5E368BE7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DA1436-F483-4414-8BEF-B319AA84E1F9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D2DD20-F2F5-48CE-BF99-66B8062AB218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797244-9D9E-4E48-84C7-80397463FD50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3859CB-5402-4619-A72C-9EBBD86CBA37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4E1CCF-16BA-4CF1-A464-5E43C3ED043F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332325-13BA-4EE1-B7C3-881843808882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9D7177-91B1-4828-9EF8-370CEAA497CD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D79EE9-9DC6-4674-96FA-60EE833AE007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087ACC-333B-4D73-89E1-1D44A7568852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BBFF02-3EBB-4FAA-85A9-460208373C23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E57DA0-2CD6-4683-92E3-49E763E27A28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4675C-FD89-46A1-A7DE-764C455B6782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8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E06F7B-5284-4AC7-A50F-ABB44ECA50EC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400D5B-C09C-47E7-97A5-A5DA81B85D9E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3AE700-2C5E-4D31-873B-26E8CA50A394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E3F4A6-4D1C-4F05-B17C-65475522BE62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3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2DCCFB-AF88-41DB-B934-95034C799A3C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150764-61D6-4A03-9BE4-F2DFF24A070A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7F1E28-AA9E-4400-849A-F8A52F25CBFF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pt-BR" noProof="0" smtClean="0"/>
              <a:t>Clique no ícone para adicionar uma imagem</a:t>
            </a:r>
            <a:endParaRPr lang="pt-BR" noProof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C30563-A107-4C8A-B72F-1D9EC580CB98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ED4CB8-2AF9-4FCF-AB14-9F8891D1C709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55B51E-06BD-4D17-9B44-A7A4C1FD2E8A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68E83C-2BC9-4280-A0DF-7F8AD9DB438A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9C52AC-D1BD-46C9-A8F2-84FD351B6804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4AA2F1-7740-49A5-B9BB-0C0B24BF6E9C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BDC4FB-CC4D-4547-AC3E-17872E14A7F2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/09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4AC71A-E7AF-4168-907E-AA5B4BEA1B7F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99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20D222-B3E9-427E-8B15-87FE5E368BE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/09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DA1436-F483-4414-8BEF-B319AA84E1F9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841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F40EFB-192F-437A-93B9-084D73BC071F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42B9E0-D33C-4A9F-BAAA-389568BE8D3D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D79EE9-9DC6-4674-96FA-60EE833AE0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/09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087ACC-333B-4D73-89E1-1D44A7568852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6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F40EFB-192F-437A-93B9-084D73BC071F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/09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42B9E0-D33C-4A9F-BAAA-389568BE8D3D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342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A0CCC4-E3DD-4132-81DD-4F89AB73B449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/09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404D79-7E0C-424E-AC1C-BE0AA5CA31A7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1027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1D7898-A42E-43A1-99EE-6B1727580862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/09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2D448E-4A95-46E6-838C-0AEBA8183F77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1476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214535-2DCD-49DA-B5E0-B793AA8A856D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/09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D6680E-45EA-4DA2-B842-FA112944C6BA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004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959901-8653-40E3-A891-CC6E342591F1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/09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ABFB09-949C-45F7-A9BC-0BA1F708EF79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2405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pt-BR" noProof="0" smtClean="0"/>
              <a:t>Clique no ícone para adicionar uma imagem</a:t>
            </a:r>
            <a:endParaRPr lang="pt-BR" noProof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0E5F11-0605-4327-8573-9C9FB55038FD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/09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1DF1D7-C780-4981-A42C-280230512714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196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A59927-5E52-4048-AA85-F716D29C39BC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/09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6FC54A-C1B5-4646-8254-29C416BB1224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542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328BAE-F484-460C-981A-8B68ED6E674F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/09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0CE26E-33A6-44BA-A958-666DEEEDE2D3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1450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A0CCC4-E3DD-4132-81DD-4F89AB73B449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8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404D79-7E0C-424E-AC1C-BE0AA5CA31A7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1D7898-A42E-43A1-99EE-6B1727580862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2D448E-4A95-46E6-838C-0AEBA8183F77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214535-2DCD-49DA-B5E0-B793AA8A856D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3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D6680E-45EA-4DA2-B842-FA112944C6BA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959901-8653-40E3-A891-CC6E342591F1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ABFB09-949C-45F7-A9BC-0BA1F708EF79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pt-BR" noProof="0" smtClean="0"/>
              <a:t>Clique no ícone para adicionar uma imagem</a:t>
            </a:r>
            <a:endParaRPr lang="pt-BR" noProof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0E5F11-0605-4327-8573-9C9FB55038FD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1DF1D7-C780-4981-A42C-280230512714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lt1">
                <a:tint val="80000"/>
                <a:satMod val="300000"/>
              </a:schemeClr>
            </a:gs>
            <a:gs pos="100000">
              <a:schemeClr val="lt1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ço Reservado para Título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título mestre</a:t>
            </a:r>
          </a:p>
        </p:txBody>
      </p:sp>
      <p:sp>
        <p:nvSpPr>
          <p:cNvPr id="1027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04F098A-540E-45DC-AAE4-21EB9B0DB77D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5985BFA-8C06-4024-929F-4C6C45E3E2C0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lt1">
                <a:tint val="80000"/>
                <a:satMod val="300000"/>
              </a:schemeClr>
            </a:gs>
            <a:gs pos="100000">
              <a:schemeClr val="lt1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59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lt1">
                <a:tint val="80000"/>
                <a:satMod val="300000"/>
              </a:schemeClr>
            </a:gs>
            <a:gs pos="100000">
              <a:schemeClr val="lt1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4"/>
          <p:cNvSpPr>
            <a:spLocks noChangeShapeType="1"/>
          </p:cNvSpPr>
          <p:nvPr/>
        </p:nvSpPr>
        <p:spPr bwMode="auto">
          <a:xfrm flipV="1">
            <a:off x="0" y="1052513"/>
            <a:ext cx="9144000" cy="0"/>
          </a:xfrm>
          <a:prstGeom prst="line">
            <a:avLst/>
          </a:prstGeom>
          <a:noFill/>
          <a:ln w="38100">
            <a:solidFill>
              <a:srgbClr val="FF6600"/>
            </a:solidFill>
            <a:round/>
            <a:headEnd/>
            <a:tailEnd/>
          </a:ln>
          <a:extLst/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51203" name="Picture 16" descr="R120_G137_B251-200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8280400" y="684213"/>
            <a:ext cx="588963" cy="236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6"/>
          <p:cNvSpPr>
            <a:spLocks noChangeArrowheads="1"/>
          </p:cNvSpPr>
          <p:nvPr userDrawn="1"/>
        </p:nvSpPr>
        <p:spPr bwMode="black">
          <a:xfrm>
            <a:off x="7589838" y="6605588"/>
            <a:ext cx="1371600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92075" tIns="46038" rIns="92075" bIns="46038" anchor="ctr"/>
          <a:lstStyle/>
          <a:p>
            <a:pPr algn="r">
              <a:defRPr/>
            </a:pPr>
            <a:r>
              <a:rPr lang="en-US" sz="800">
                <a:solidFill>
                  <a:srgbClr val="000000"/>
                </a:solidFill>
                <a:latin typeface="+mn-lt"/>
              </a:rPr>
              <a:t>© 2012 IBM Corporation</a:t>
            </a:r>
            <a:endParaRPr lang="en-US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029" name="Rectangle 6"/>
          <p:cNvSpPr>
            <a:spLocks noChangeArrowheads="1"/>
          </p:cNvSpPr>
          <p:nvPr userDrawn="1"/>
        </p:nvSpPr>
        <p:spPr bwMode="black">
          <a:xfrm>
            <a:off x="3592513" y="6589713"/>
            <a:ext cx="1319212" cy="21431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92075" tIns="46038" rIns="92075" bIns="46038" anchor="ctr">
            <a:spAutoFit/>
          </a:bodyPr>
          <a:lstStyle/>
          <a:p>
            <a:pPr algn="ctr">
              <a:defRPr/>
            </a:pPr>
            <a:r>
              <a:rPr lang="pt-BR" sz="800">
                <a:solidFill>
                  <a:srgbClr val="000000"/>
                </a:solidFill>
                <a:latin typeface="+mn-lt"/>
              </a:rPr>
              <a:t>Confidencial IBM/ Natura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173038" indent="-173038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09588" indent="-163513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2pPr>
      <a:lvl3pPr marL="855663" indent="-173038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cs typeface="+mn-cs"/>
        </a:defRPr>
      </a:lvl3pPr>
      <a:lvl4pPr marL="1203325" indent="-173038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defRPr sz="1600">
          <a:solidFill>
            <a:schemeClr val="bg1"/>
          </a:solidFill>
          <a:latin typeface="+mn-lt"/>
          <a:cs typeface="+mn-cs"/>
        </a:defRPr>
      </a:lvl4pPr>
      <a:lvl5pPr marL="1539875" indent="-163513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  <a:cs typeface="+mn-cs"/>
        </a:defRPr>
      </a:lvl5pPr>
      <a:lvl6pPr marL="1997075" indent="-163513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  <a:cs typeface="+mn-cs"/>
        </a:defRPr>
      </a:lvl6pPr>
      <a:lvl7pPr marL="2454275" indent="-163513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  <a:cs typeface="+mn-cs"/>
        </a:defRPr>
      </a:lvl7pPr>
      <a:lvl8pPr marL="2911475" indent="-163513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  <a:cs typeface="+mn-cs"/>
        </a:defRPr>
      </a:lvl8pPr>
      <a:lvl9pPr marL="3368675" indent="-163513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lt1">
                <a:tint val="80000"/>
                <a:satMod val="300000"/>
              </a:schemeClr>
            </a:gs>
            <a:gs pos="100000">
              <a:schemeClr val="lt1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Espaço Reservado para Título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título mestre</a:t>
            </a:r>
          </a:p>
        </p:txBody>
      </p:sp>
      <p:sp>
        <p:nvSpPr>
          <p:cNvPr id="91139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9BC8D7C-BFA1-4A2A-A26F-02EC7F47AEDE}" type="datetimeFigureOut">
              <a:rPr lang="pt-BR"/>
              <a:pPr>
                <a:defRPr/>
              </a:pPr>
              <a:t>21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582BC1AD-D862-4407-AE13-7B382FF88778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7" r:id="rId1"/>
    <p:sldLayoutId id="2147483848" r:id="rId2"/>
    <p:sldLayoutId id="2147483849" r:id="rId3"/>
    <p:sldLayoutId id="2147483850" r:id="rId4"/>
    <p:sldLayoutId id="2147483851" r:id="rId5"/>
    <p:sldLayoutId id="2147483852" r:id="rId6"/>
    <p:sldLayoutId id="2147483853" r:id="rId7"/>
    <p:sldLayoutId id="2147483854" r:id="rId8"/>
    <p:sldLayoutId id="2147483855" r:id="rId9"/>
    <p:sldLayoutId id="2147483856" r:id="rId10"/>
    <p:sldLayoutId id="2147483857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lt1">
                <a:tint val="80000"/>
                <a:satMod val="300000"/>
              </a:schemeClr>
            </a:gs>
            <a:gs pos="100000">
              <a:schemeClr val="lt1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ço Reservado para Título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título mestre</a:t>
            </a:r>
          </a:p>
        </p:txBody>
      </p:sp>
      <p:sp>
        <p:nvSpPr>
          <p:cNvPr id="1027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04F098A-540E-45DC-AAE4-21EB9B0DB77D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/09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5985BFA-8C06-4024-929F-4C6C45E3E2C0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2052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  <p:sldLayoutId id="2147483880" r:id="rId2"/>
    <p:sldLayoutId id="2147483881" r:id="rId3"/>
    <p:sldLayoutId id="2147483882" r:id="rId4"/>
    <p:sldLayoutId id="2147483883" r:id="rId5"/>
    <p:sldLayoutId id="2147483884" r:id="rId6"/>
    <p:sldLayoutId id="2147483885" r:id="rId7"/>
    <p:sldLayoutId id="2147483886" r:id="rId8"/>
    <p:sldLayoutId id="2147483887" r:id="rId9"/>
    <p:sldLayoutId id="2147483888" r:id="rId10"/>
    <p:sldLayoutId id="2147483889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3.xml"/><Relationship Id="rId7" Type="http://schemas.microsoft.com/office/2007/relationships/diagramDrawing" Target="../diagrams/drawing13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3.xml"/><Relationship Id="rId5" Type="http://schemas.openxmlformats.org/officeDocument/2006/relationships/diagramQuickStyle" Target="../diagrams/quickStyle13.xml"/><Relationship Id="rId4" Type="http://schemas.openxmlformats.org/officeDocument/2006/relationships/diagramLayout" Target="../diagrams/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4.xml"/><Relationship Id="rId7" Type="http://schemas.microsoft.com/office/2007/relationships/diagramDrawing" Target="../diagrams/drawing14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4.xml"/><Relationship Id="rId5" Type="http://schemas.openxmlformats.org/officeDocument/2006/relationships/diagramQuickStyle" Target="../diagrams/quickStyle14.xml"/><Relationship Id="rId4" Type="http://schemas.openxmlformats.org/officeDocument/2006/relationships/diagramLayout" Target="../diagrams/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5.xml"/><Relationship Id="rId7" Type="http://schemas.microsoft.com/office/2007/relationships/diagramDrawing" Target="../diagrams/drawing15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5.xml"/><Relationship Id="rId5" Type="http://schemas.openxmlformats.org/officeDocument/2006/relationships/diagramQuickStyle" Target="../diagrams/quickStyle15.xml"/><Relationship Id="rId4" Type="http://schemas.openxmlformats.org/officeDocument/2006/relationships/diagramLayout" Target="../diagrams/layout1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microsoft.com/office/2007/relationships/diagramDrawing" Target="../diagrams/drawing17.xml"/><Relationship Id="rId18" Type="http://schemas.microsoft.com/office/2007/relationships/diagramDrawing" Target="../diagrams/drawing18.xml"/><Relationship Id="rId26" Type="http://schemas.openxmlformats.org/officeDocument/2006/relationships/diagramQuickStyle" Target="../diagrams/quickStyle20.xml"/><Relationship Id="rId3" Type="http://schemas.openxmlformats.org/officeDocument/2006/relationships/diagramData" Target="../diagrams/data16.xml"/><Relationship Id="rId21" Type="http://schemas.openxmlformats.org/officeDocument/2006/relationships/diagramQuickStyle" Target="../diagrams/quickStyle19.xml"/><Relationship Id="rId7" Type="http://schemas.microsoft.com/office/2007/relationships/diagramDrawing" Target="../diagrams/drawing16.xml"/><Relationship Id="rId12" Type="http://schemas.openxmlformats.org/officeDocument/2006/relationships/diagramColors" Target="../diagrams/colors17.xml"/><Relationship Id="rId17" Type="http://schemas.openxmlformats.org/officeDocument/2006/relationships/diagramColors" Target="../diagrams/colors18.xml"/><Relationship Id="rId25" Type="http://schemas.openxmlformats.org/officeDocument/2006/relationships/diagramLayout" Target="../diagrams/layout20.xml"/><Relationship Id="rId33" Type="http://schemas.microsoft.com/office/2007/relationships/diagramDrawing" Target="../diagrams/drawing21.xml"/><Relationship Id="rId2" Type="http://schemas.openxmlformats.org/officeDocument/2006/relationships/image" Target="../media/image4.png"/><Relationship Id="rId16" Type="http://schemas.openxmlformats.org/officeDocument/2006/relationships/diagramQuickStyle" Target="../diagrams/quickStyle18.xml"/><Relationship Id="rId20" Type="http://schemas.openxmlformats.org/officeDocument/2006/relationships/diagramLayout" Target="../diagrams/layout19.xml"/><Relationship Id="rId29" Type="http://schemas.openxmlformats.org/officeDocument/2006/relationships/diagramData" Target="../diagrams/data21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6.xml"/><Relationship Id="rId11" Type="http://schemas.openxmlformats.org/officeDocument/2006/relationships/diagramQuickStyle" Target="../diagrams/quickStyle17.xml"/><Relationship Id="rId24" Type="http://schemas.openxmlformats.org/officeDocument/2006/relationships/diagramData" Target="../diagrams/data20.xml"/><Relationship Id="rId32" Type="http://schemas.openxmlformats.org/officeDocument/2006/relationships/diagramColors" Target="../diagrams/colors21.xml"/><Relationship Id="rId5" Type="http://schemas.openxmlformats.org/officeDocument/2006/relationships/diagramQuickStyle" Target="../diagrams/quickStyle16.xml"/><Relationship Id="rId15" Type="http://schemas.openxmlformats.org/officeDocument/2006/relationships/diagramLayout" Target="../diagrams/layout18.xml"/><Relationship Id="rId23" Type="http://schemas.microsoft.com/office/2007/relationships/diagramDrawing" Target="../diagrams/drawing19.xml"/><Relationship Id="rId28" Type="http://schemas.microsoft.com/office/2007/relationships/diagramDrawing" Target="../diagrams/drawing20.xml"/><Relationship Id="rId10" Type="http://schemas.openxmlformats.org/officeDocument/2006/relationships/diagramLayout" Target="../diagrams/layout17.xml"/><Relationship Id="rId19" Type="http://schemas.openxmlformats.org/officeDocument/2006/relationships/diagramData" Target="../diagrams/data19.xml"/><Relationship Id="rId31" Type="http://schemas.openxmlformats.org/officeDocument/2006/relationships/diagramQuickStyle" Target="../diagrams/quickStyle21.xml"/><Relationship Id="rId4" Type="http://schemas.openxmlformats.org/officeDocument/2006/relationships/diagramLayout" Target="../diagrams/layout16.xml"/><Relationship Id="rId9" Type="http://schemas.openxmlformats.org/officeDocument/2006/relationships/diagramData" Target="../diagrams/data17.xml"/><Relationship Id="rId14" Type="http://schemas.openxmlformats.org/officeDocument/2006/relationships/diagramData" Target="../diagrams/data18.xml"/><Relationship Id="rId22" Type="http://schemas.openxmlformats.org/officeDocument/2006/relationships/diagramColors" Target="../diagrams/colors19.xml"/><Relationship Id="rId27" Type="http://schemas.openxmlformats.org/officeDocument/2006/relationships/diagramColors" Target="../diagrams/colors20.xml"/><Relationship Id="rId30" Type="http://schemas.openxmlformats.org/officeDocument/2006/relationships/diagramLayout" Target="../diagrams/layout2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Data" Target="../diagrams/data22.xml"/><Relationship Id="rId7" Type="http://schemas.microsoft.com/office/2007/relationships/diagramDrawing" Target="../diagrams/drawing22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2.xml"/><Relationship Id="rId5" Type="http://schemas.openxmlformats.org/officeDocument/2006/relationships/diagramQuickStyle" Target="../diagrams/quickStyle22.xml"/><Relationship Id="rId4" Type="http://schemas.openxmlformats.org/officeDocument/2006/relationships/diagramLayout" Target="../diagrams/layout2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microsoft.com/office/2007/relationships/diagramDrawing" Target="../diagrams/drawing24.xml"/><Relationship Id="rId18" Type="http://schemas.microsoft.com/office/2007/relationships/diagramDrawing" Target="../diagrams/drawing25.xml"/><Relationship Id="rId26" Type="http://schemas.openxmlformats.org/officeDocument/2006/relationships/diagramQuickStyle" Target="../diagrams/quickStyle27.xml"/><Relationship Id="rId3" Type="http://schemas.openxmlformats.org/officeDocument/2006/relationships/diagramData" Target="../diagrams/data23.xml"/><Relationship Id="rId21" Type="http://schemas.openxmlformats.org/officeDocument/2006/relationships/diagramQuickStyle" Target="../diagrams/quickStyle26.xml"/><Relationship Id="rId7" Type="http://schemas.microsoft.com/office/2007/relationships/diagramDrawing" Target="../diagrams/drawing23.xml"/><Relationship Id="rId12" Type="http://schemas.openxmlformats.org/officeDocument/2006/relationships/diagramColors" Target="../diagrams/colors24.xml"/><Relationship Id="rId17" Type="http://schemas.openxmlformats.org/officeDocument/2006/relationships/diagramColors" Target="../diagrams/colors25.xml"/><Relationship Id="rId25" Type="http://schemas.openxmlformats.org/officeDocument/2006/relationships/diagramLayout" Target="../diagrams/layout27.xml"/><Relationship Id="rId33" Type="http://schemas.microsoft.com/office/2007/relationships/diagramDrawing" Target="../diagrams/drawing28.xml"/><Relationship Id="rId2" Type="http://schemas.openxmlformats.org/officeDocument/2006/relationships/image" Target="../media/image4.png"/><Relationship Id="rId16" Type="http://schemas.openxmlformats.org/officeDocument/2006/relationships/diagramQuickStyle" Target="../diagrams/quickStyle25.xml"/><Relationship Id="rId20" Type="http://schemas.openxmlformats.org/officeDocument/2006/relationships/diagramLayout" Target="../diagrams/layout26.xml"/><Relationship Id="rId29" Type="http://schemas.openxmlformats.org/officeDocument/2006/relationships/diagramData" Target="../diagrams/data28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3.xml"/><Relationship Id="rId11" Type="http://schemas.openxmlformats.org/officeDocument/2006/relationships/diagramQuickStyle" Target="../diagrams/quickStyle24.xml"/><Relationship Id="rId24" Type="http://schemas.openxmlformats.org/officeDocument/2006/relationships/diagramData" Target="../diagrams/data27.xml"/><Relationship Id="rId32" Type="http://schemas.openxmlformats.org/officeDocument/2006/relationships/diagramColors" Target="../diagrams/colors28.xml"/><Relationship Id="rId5" Type="http://schemas.openxmlformats.org/officeDocument/2006/relationships/diagramQuickStyle" Target="../diagrams/quickStyle23.xml"/><Relationship Id="rId15" Type="http://schemas.openxmlformats.org/officeDocument/2006/relationships/diagramLayout" Target="../diagrams/layout25.xml"/><Relationship Id="rId23" Type="http://schemas.microsoft.com/office/2007/relationships/diagramDrawing" Target="../diagrams/drawing26.xml"/><Relationship Id="rId28" Type="http://schemas.microsoft.com/office/2007/relationships/diagramDrawing" Target="../diagrams/drawing27.xml"/><Relationship Id="rId10" Type="http://schemas.openxmlformats.org/officeDocument/2006/relationships/diagramLayout" Target="../diagrams/layout24.xml"/><Relationship Id="rId19" Type="http://schemas.openxmlformats.org/officeDocument/2006/relationships/diagramData" Target="../diagrams/data26.xml"/><Relationship Id="rId31" Type="http://schemas.openxmlformats.org/officeDocument/2006/relationships/diagramQuickStyle" Target="../diagrams/quickStyle28.xml"/><Relationship Id="rId4" Type="http://schemas.openxmlformats.org/officeDocument/2006/relationships/diagramLayout" Target="../diagrams/layout23.xml"/><Relationship Id="rId9" Type="http://schemas.openxmlformats.org/officeDocument/2006/relationships/diagramData" Target="../diagrams/data24.xml"/><Relationship Id="rId14" Type="http://schemas.openxmlformats.org/officeDocument/2006/relationships/diagramData" Target="../diagrams/data25.xml"/><Relationship Id="rId22" Type="http://schemas.openxmlformats.org/officeDocument/2006/relationships/diagramColors" Target="../diagrams/colors26.xml"/><Relationship Id="rId27" Type="http://schemas.openxmlformats.org/officeDocument/2006/relationships/diagramColors" Target="../diagrams/colors27.xml"/><Relationship Id="rId30" Type="http://schemas.openxmlformats.org/officeDocument/2006/relationships/diagramLayout" Target="../diagrams/layout2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diagramData" Target="../diagrams/data29.xml"/><Relationship Id="rId7" Type="http://schemas.microsoft.com/office/2007/relationships/diagramDrawing" Target="../diagrams/drawing29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9.xml"/><Relationship Id="rId5" Type="http://schemas.openxmlformats.org/officeDocument/2006/relationships/diagramQuickStyle" Target="../diagrams/quickStyle29.xml"/><Relationship Id="rId4" Type="http://schemas.openxmlformats.org/officeDocument/2006/relationships/diagramLayout" Target="../diagrams/layout29.xml"/><Relationship Id="rId9" Type="http://schemas.openxmlformats.org/officeDocument/2006/relationships/hyperlink" Target="http://info.up2place.com.br/avaliacao-maturidade-de-ti" TargetMode="Externa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0.xml"/><Relationship Id="rId3" Type="http://schemas.openxmlformats.org/officeDocument/2006/relationships/image" Target="../media/image14.png"/><Relationship Id="rId7" Type="http://schemas.openxmlformats.org/officeDocument/2006/relationships/diagramLayout" Target="../diagrams/layout30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6" Type="http://schemas.openxmlformats.org/officeDocument/2006/relationships/diagramData" Target="../diagrams/data30.xml"/><Relationship Id="rId5" Type="http://schemas.openxmlformats.org/officeDocument/2006/relationships/image" Target="../media/image16.png"/><Relationship Id="rId10" Type="http://schemas.microsoft.com/office/2007/relationships/diagramDrawing" Target="../diagrams/drawing30.xml"/><Relationship Id="rId4" Type="http://schemas.openxmlformats.org/officeDocument/2006/relationships/image" Target="../media/image15.png"/><Relationship Id="rId9" Type="http://schemas.openxmlformats.org/officeDocument/2006/relationships/diagramColors" Target="../diagrams/colors3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microsoft.com/office/2007/relationships/diagramDrawing" Target="../diagrams/drawing32.xml"/><Relationship Id="rId18" Type="http://schemas.microsoft.com/office/2007/relationships/diagramDrawing" Target="../diagrams/drawing33.xml"/><Relationship Id="rId26" Type="http://schemas.openxmlformats.org/officeDocument/2006/relationships/diagramQuickStyle" Target="../diagrams/quickStyle35.xml"/><Relationship Id="rId3" Type="http://schemas.openxmlformats.org/officeDocument/2006/relationships/diagramData" Target="../diagrams/data31.xml"/><Relationship Id="rId21" Type="http://schemas.openxmlformats.org/officeDocument/2006/relationships/diagramQuickStyle" Target="../diagrams/quickStyle34.xml"/><Relationship Id="rId7" Type="http://schemas.microsoft.com/office/2007/relationships/diagramDrawing" Target="../diagrams/drawing31.xml"/><Relationship Id="rId12" Type="http://schemas.openxmlformats.org/officeDocument/2006/relationships/diagramColors" Target="../diagrams/colors32.xml"/><Relationship Id="rId17" Type="http://schemas.openxmlformats.org/officeDocument/2006/relationships/diagramColors" Target="../diagrams/colors33.xml"/><Relationship Id="rId25" Type="http://schemas.openxmlformats.org/officeDocument/2006/relationships/diagramLayout" Target="../diagrams/layout35.xml"/><Relationship Id="rId33" Type="http://schemas.microsoft.com/office/2007/relationships/diagramDrawing" Target="../diagrams/drawing36.xml"/><Relationship Id="rId2" Type="http://schemas.openxmlformats.org/officeDocument/2006/relationships/image" Target="../media/image4.png"/><Relationship Id="rId16" Type="http://schemas.openxmlformats.org/officeDocument/2006/relationships/diagramQuickStyle" Target="../diagrams/quickStyle33.xml"/><Relationship Id="rId20" Type="http://schemas.openxmlformats.org/officeDocument/2006/relationships/diagramLayout" Target="../diagrams/layout34.xml"/><Relationship Id="rId29" Type="http://schemas.openxmlformats.org/officeDocument/2006/relationships/diagramData" Target="../diagrams/data36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31.xml"/><Relationship Id="rId11" Type="http://schemas.openxmlformats.org/officeDocument/2006/relationships/diagramQuickStyle" Target="../diagrams/quickStyle32.xml"/><Relationship Id="rId24" Type="http://schemas.openxmlformats.org/officeDocument/2006/relationships/diagramData" Target="../diagrams/data35.xml"/><Relationship Id="rId32" Type="http://schemas.openxmlformats.org/officeDocument/2006/relationships/diagramColors" Target="../diagrams/colors36.xml"/><Relationship Id="rId5" Type="http://schemas.openxmlformats.org/officeDocument/2006/relationships/diagramQuickStyle" Target="../diagrams/quickStyle31.xml"/><Relationship Id="rId15" Type="http://schemas.openxmlformats.org/officeDocument/2006/relationships/diagramLayout" Target="../diagrams/layout33.xml"/><Relationship Id="rId23" Type="http://schemas.microsoft.com/office/2007/relationships/diagramDrawing" Target="../diagrams/drawing34.xml"/><Relationship Id="rId28" Type="http://schemas.microsoft.com/office/2007/relationships/diagramDrawing" Target="../diagrams/drawing35.xml"/><Relationship Id="rId10" Type="http://schemas.openxmlformats.org/officeDocument/2006/relationships/diagramLayout" Target="../diagrams/layout32.xml"/><Relationship Id="rId19" Type="http://schemas.openxmlformats.org/officeDocument/2006/relationships/diagramData" Target="../diagrams/data34.xml"/><Relationship Id="rId31" Type="http://schemas.openxmlformats.org/officeDocument/2006/relationships/diagramQuickStyle" Target="../diagrams/quickStyle36.xml"/><Relationship Id="rId4" Type="http://schemas.openxmlformats.org/officeDocument/2006/relationships/diagramLayout" Target="../diagrams/layout31.xml"/><Relationship Id="rId9" Type="http://schemas.openxmlformats.org/officeDocument/2006/relationships/diagramData" Target="../diagrams/data32.xml"/><Relationship Id="rId14" Type="http://schemas.openxmlformats.org/officeDocument/2006/relationships/diagramData" Target="../diagrams/data33.xml"/><Relationship Id="rId22" Type="http://schemas.openxmlformats.org/officeDocument/2006/relationships/diagramColors" Target="../diagrams/colors34.xml"/><Relationship Id="rId27" Type="http://schemas.openxmlformats.org/officeDocument/2006/relationships/diagramColors" Target="../diagrams/colors35.xml"/><Relationship Id="rId30" Type="http://schemas.openxmlformats.org/officeDocument/2006/relationships/diagramLayout" Target="../diagrams/layout3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info.up2place.com.br/avaliacao-maturidade-de-ti" TargetMode="Externa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7.xml"/><Relationship Id="rId7" Type="http://schemas.microsoft.com/office/2007/relationships/diagramDrawing" Target="../diagrams/drawing37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8.xml"/><Relationship Id="rId6" Type="http://schemas.openxmlformats.org/officeDocument/2006/relationships/diagramColors" Target="../diagrams/colors37.xml"/><Relationship Id="rId5" Type="http://schemas.openxmlformats.org/officeDocument/2006/relationships/diagramQuickStyle" Target="../diagrams/quickStyle37.xml"/><Relationship Id="rId4" Type="http://schemas.openxmlformats.org/officeDocument/2006/relationships/diagramLayout" Target="../diagrams/layout3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4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4.png"/><Relationship Id="rId5" Type="http://schemas.openxmlformats.org/officeDocument/2006/relationships/tags" Target="../tags/tag5.xml"/><Relationship Id="rId10" Type="http://schemas.openxmlformats.org/officeDocument/2006/relationships/image" Target="../media/image23.png"/><Relationship Id="rId4" Type="http://schemas.openxmlformats.org/officeDocument/2006/relationships/tags" Target="../tags/tag4.xml"/><Relationship Id="rId9" Type="http://schemas.openxmlformats.org/officeDocument/2006/relationships/image" Target="../media/image22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3" Type="http://schemas.openxmlformats.org/officeDocument/2006/relationships/oleObject" Target="../embeddings/oleObject1.bin"/><Relationship Id="rId7" Type="http://schemas.openxmlformats.org/officeDocument/2006/relationships/oleObject" Target="../embeddings/oleObject3.bin"/><Relationship Id="rId12" Type="http://schemas.openxmlformats.org/officeDocument/2006/relationships/image" Target="../media/image29.emf"/><Relationship Id="rId2" Type="http://schemas.openxmlformats.org/officeDocument/2006/relationships/slideLayout" Target="../slideLayouts/slideLayout4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6.emf"/><Relationship Id="rId11" Type="http://schemas.openxmlformats.org/officeDocument/2006/relationships/oleObject" Target="../embeddings/oleObject5.bin"/><Relationship Id="rId5" Type="http://schemas.openxmlformats.org/officeDocument/2006/relationships/oleObject" Target="../embeddings/oleObject2.bin"/><Relationship Id="rId10" Type="http://schemas.openxmlformats.org/officeDocument/2006/relationships/image" Target="../media/image28.emf"/><Relationship Id="rId4" Type="http://schemas.openxmlformats.org/officeDocument/2006/relationships/image" Target="../media/image25.emf"/><Relationship Id="rId9" Type="http://schemas.openxmlformats.org/officeDocument/2006/relationships/oleObject" Target="../embeddings/oleObject4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microsoft.com/office/2007/relationships/diagramDrawing" Target="../diagrams/drawing39.xml"/><Relationship Id="rId18" Type="http://schemas.microsoft.com/office/2007/relationships/diagramDrawing" Target="../diagrams/drawing40.xml"/><Relationship Id="rId26" Type="http://schemas.openxmlformats.org/officeDocument/2006/relationships/diagramQuickStyle" Target="../diagrams/quickStyle42.xml"/><Relationship Id="rId3" Type="http://schemas.openxmlformats.org/officeDocument/2006/relationships/diagramData" Target="../diagrams/data38.xml"/><Relationship Id="rId21" Type="http://schemas.openxmlformats.org/officeDocument/2006/relationships/diagramQuickStyle" Target="../diagrams/quickStyle41.xml"/><Relationship Id="rId7" Type="http://schemas.microsoft.com/office/2007/relationships/diagramDrawing" Target="../diagrams/drawing38.xml"/><Relationship Id="rId12" Type="http://schemas.openxmlformats.org/officeDocument/2006/relationships/diagramColors" Target="../diagrams/colors39.xml"/><Relationship Id="rId17" Type="http://schemas.openxmlformats.org/officeDocument/2006/relationships/diagramColors" Target="../diagrams/colors40.xml"/><Relationship Id="rId25" Type="http://schemas.openxmlformats.org/officeDocument/2006/relationships/diagramLayout" Target="../diagrams/layout42.xml"/><Relationship Id="rId33" Type="http://schemas.microsoft.com/office/2007/relationships/diagramDrawing" Target="../diagrams/drawing43.xml"/><Relationship Id="rId2" Type="http://schemas.openxmlformats.org/officeDocument/2006/relationships/image" Target="../media/image4.png"/><Relationship Id="rId16" Type="http://schemas.openxmlformats.org/officeDocument/2006/relationships/diagramQuickStyle" Target="../diagrams/quickStyle40.xml"/><Relationship Id="rId20" Type="http://schemas.openxmlformats.org/officeDocument/2006/relationships/diagramLayout" Target="../diagrams/layout41.xml"/><Relationship Id="rId29" Type="http://schemas.openxmlformats.org/officeDocument/2006/relationships/diagramData" Target="../diagrams/data43.xml"/><Relationship Id="rId1" Type="http://schemas.openxmlformats.org/officeDocument/2006/relationships/slideLayout" Target="../slideLayouts/slideLayout44.xml"/><Relationship Id="rId6" Type="http://schemas.openxmlformats.org/officeDocument/2006/relationships/diagramColors" Target="../diagrams/colors38.xml"/><Relationship Id="rId11" Type="http://schemas.openxmlformats.org/officeDocument/2006/relationships/diagramQuickStyle" Target="../diagrams/quickStyle39.xml"/><Relationship Id="rId24" Type="http://schemas.openxmlformats.org/officeDocument/2006/relationships/diagramData" Target="../diagrams/data42.xml"/><Relationship Id="rId32" Type="http://schemas.openxmlformats.org/officeDocument/2006/relationships/diagramColors" Target="../diagrams/colors43.xml"/><Relationship Id="rId5" Type="http://schemas.openxmlformats.org/officeDocument/2006/relationships/diagramQuickStyle" Target="../diagrams/quickStyle38.xml"/><Relationship Id="rId15" Type="http://schemas.openxmlformats.org/officeDocument/2006/relationships/diagramLayout" Target="../diagrams/layout40.xml"/><Relationship Id="rId23" Type="http://schemas.microsoft.com/office/2007/relationships/diagramDrawing" Target="../diagrams/drawing41.xml"/><Relationship Id="rId28" Type="http://schemas.microsoft.com/office/2007/relationships/diagramDrawing" Target="../diagrams/drawing42.xml"/><Relationship Id="rId10" Type="http://schemas.openxmlformats.org/officeDocument/2006/relationships/diagramLayout" Target="../diagrams/layout39.xml"/><Relationship Id="rId19" Type="http://schemas.openxmlformats.org/officeDocument/2006/relationships/diagramData" Target="../diagrams/data41.xml"/><Relationship Id="rId31" Type="http://schemas.openxmlformats.org/officeDocument/2006/relationships/diagramQuickStyle" Target="../diagrams/quickStyle43.xml"/><Relationship Id="rId4" Type="http://schemas.openxmlformats.org/officeDocument/2006/relationships/diagramLayout" Target="../diagrams/layout38.xml"/><Relationship Id="rId9" Type="http://schemas.openxmlformats.org/officeDocument/2006/relationships/diagramData" Target="../diagrams/data39.xml"/><Relationship Id="rId14" Type="http://schemas.openxmlformats.org/officeDocument/2006/relationships/diagramData" Target="../diagrams/data40.xml"/><Relationship Id="rId22" Type="http://schemas.openxmlformats.org/officeDocument/2006/relationships/diagramColors" Target="../diagrams/colors41.xml"/><Relationship Id="rId27" Type="http://schemas.openxmlformats.org/officeDocument/2006/relationships/diagramColors" Target="../diagrams/colors42.xml"/><Relationship Id="rId30" Type="http://schemas.openxmlformats.org/officeDocument/2006/relationships/diagramLayout" Target="../diagrams/layout4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notesSlide" Target="../notesSlides/notesSlide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slideLayout" Target="../slideLayouts/slideLayout7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microsoft.com/office/2007/relationships/diagramDrawing" Target="../diagrams/drawing45.xml"/><Relationship Id="rId18" Type="http://schemas.microsoft.com/office/2007/relationships/diagramDrawing" Target="../diagrams/drawing46.xml"/><Relationship Id="rId26" Type="http://schemas.openxmlformats.org/officeDocument/2006/relationships/diagramQuickStyle" Target="../diagrams/quickStyle48.xml"/><Relationship Id="rId3" Type="http://schemas.openxmlformats.org/officeDocument/2006/relationships/diagramData" Target="../diagrams/data44.xml"/><Relationship Id="rId21" Type="http://schemas.openxmlformats.org/officeDocument/2006/relationships/diagramQuickStyle" Target="../diagrams/quickStyle47.xml"/><Relationship Id="rId7" Type="http://schemas.microsoft.com/office/2007/relationships/diagramDrawing" Target="../diagrams/drawing44.xml"/><Relationship Id="rId12" Type="http://schemas.openxmlformats.org/officeDocument/2006/relationships/diagramColors" Target="../diagrams/colors45.xml"/><Relationship Id="rId17" Type="http://schemas.openxmlformats.org/officeDocument/2006/relationships/diagramColors" Target="../diagrams/colors46.xml"/><Relationship Id="rId25" Type="http://schemas.openxmlformats.org/officeDocument/2006/relationships/diagramLayout" Target="../diagrams/layout48.xml"/><Relationship Id="rId33" Type="http://schemas.microsoft.com/office/2007/relationships/diagramDrawing" Target="../diagrams/drawing49.xml"/><Relationship Id="rId2" Type="http://schemas.openxmlformats.org/officeDocument/2006/relationships/image" Target="../media/image4.png"/><Relationship Id="rId16" Type="http://schemas.openxmlformats.org/officeDocument/2006/relationships/diagramQuickStyle" Target="../diagrams/quickStyle46.xml"/><Relationship Id="rId20" Type="http://schemas.openxmlformats.org/officeDocument/2006/relationships/diagramLayout" Target="../diagrams/layout47.xml"/><Relationship Id="rId29" Type="http://schemas.openxmlformats.org/officeDocument/2006/relationships/diagramData" Target="../diagrams/data49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44.xml"/><Relationship Id="rId11" Type="http://schemas.openxmlformats.org/officeDocument/2006/relationships/diagramQuickStyle" Target="../diagrams/quickStyle45.xml"/><Relationship Id="rId24" Type="http://schemas.openxmlformats.org/officeDocument/2006/relationships/diagramData" Target="../diagrams/data48.xml"/><Relationship Id="rId32" Type="http://schemas.openxmlformats.org/officeDocument/2006/relationships/diagramColors" Target="../diagrams/colors49.xml"/><Relationship Id="rId5" Type="http://schemas.openxmlformats.org/officeDocument/2006/relationships/diagramQuickStyle" Target="../diagrams/quickStyle44.xml"/><Relationship Id="rId15" Type="http://schemas.openxmlformats.org/officeDocument/2006/relationships/diagramLayout" Target="../diagrams/layout46.xml"/><Relationship Id="rId23" Type="http://schemas.microsoft.com/office/2007/relationships/diagramDrawing" Target="../diagrams/drawing47.xml"/><Relationship Id="rId28" Type="http://schemas.microsoft.com/office/2007/relationships/diagramDrawing" Target="../diagrams/drawing48.xml"/><Relationship Id="rId10" Type="http://schemas.openxmlformats.org/officeDocument/2006/relationships/diagramLayout" Target="../diagrams/layout45.xml"/><Relationship Id="rId19" Type="http://schemas.openxmlformats.org/officeDocument/2006/relationships/diagramData" Target="../diagrams/data47.xml"/><Relationship Id="rId31" Type="http://schemas.openxmlformats.org/officeDocument/2006/relationships/diagramQuickStyle" Target="../diagrams/quickStyle49.xml"/><Relationship Id="rId4" Type="http://schemas.openxmlformats.org/officeDocument/2006/relationships/diagramLayout" Target="../diagrams/layout44.xml"/><Relationship Id="rId9" Type="http://schemas.openxmlformats.org/officeDocument/2006/relationships/diagramData" Target="../diagrams/data45.xml"/><Relationship Id="rId14" Type="http://schemas.openxmlformats.org/officeDocument/2006/relationships/diagramData" Target="../diagrams/data46.xml"/><Relationship Id="rId22" Type="http://schemas.openxmlformats.org/officeDocument/2006/relationships/diagramColors" Target="../diagrams/colors47.xml"/><Relationship Id="rId27" Type="http://schemas.openxmlformats.org/officeDocument/2006/relationships/diagramColors" Target="../diagrams/colors48.xml"/><Relationship Id="rId30" Type="http://schemas.openxmlformats.org/officeDocument/2006/relationships/diagramLayout" Target="../diagrams/layout49.xml"/></Relationships>
</file>

<file path=ppt/slides/_rels/slide2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0.xml"/><Relationship Id="rId3" Type="http://schemas.openxmlformats.org/officeDocument/2006/relationships/image" Target="../media/image4.png"/><Relationship Id="rId7" Type="http://schemas.openxmlformats.org/officeDocument/2006/relationships/diagramColors" Target="../diagrams/colors50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50.xml"/><Relationship Id="rId5" Type="http://schemas.openxmlformats.org/officeDocument/2006/relationships/diagramLayout" Target="../diagrams/layout50.xml"/><Relationship Id="rId4" Type="http://schemas.openxmlformats.org/officeDocument/2006/relationships/diagramData" Target="../diagrams/data50.xml"/><Relationship Id="rId9" Type="http://schemas.openxmlformats.org/officeDocument/2006/relationships/image" Target="../media/image30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up2place.com.br/" TargetMode="External"/><Relationship Id="rId2" Type="http://schemas.openxmlformats.org/officeDocument/2006/relationships/hyperlink" Target="mailto:Sidnei.goncalves@up2place.com.br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microsoft.com/office/2007/relationships/diagramDrawing" Target="../diagrams/drawing3.xml"/><Relationship Id="rId18" Type="http://schemas.microsoft.com/office/2007/relationships/diagramDrawing" Target="../diagrams/drawing4.xml"/><Relationship Id="rId26" Type="http://schemas.openxmlformats.org/officeDocument/2006/relationships/diagramQuickStyle" Target="../diagrams/quickStyle6.xml"/><Relationship Id="rId3" Type="http://schemas.openxmlformats.org/officeDocument/2006/relationships/diagramData" Target="../diagrams/data2.xml"/><Relationship Id="rId21" Type="http://schemas.openxmlformats.org/officeDocument/2006/relationships/diagramQuickStyle" Target="../diagrams/quickStyle5.xml"/><Relationship Id="rId7" Type="http://schemas.microsoft.com/office/2007/relationships/diagramDrawing" Target="../diagrams/drawing2.xml"/><Relationship Id="rId12" Type="http://schemas.openxmlformats.org/officeDocument/2006/relationships/diagramColors" Target="../diagrams/colors3.xml"/><Relationship Id="rId17" Type="http://schemas.openxmlformats.org/officeDocument/2006/relationships/diagramColors" Target="../diagrams/colors4.xml"/><Relationship Id="rId25" Type="http://schemas.openxmlformats.org/officeDocument/2006/relationships/diagramLayout" Target="../diagrams/layout6.xml"/><Relationship Id="rId33" Type="http://schemas.microsoft.com/office/2007/relationships/diagramDrawing" Target="../diagrams/drawing7.xml"/><Relationship Id="rId2" Type="http://schemas.openxmlformats.org/officeDocument/2006/relationships/image" Target="../media/image4.png"/><Relationship Id="rId16" Type="http://schemas.openxmlformats.org/officeDocument/2006/relationships/diagramQuickStyle" Target="../diagrams/quickStyle4.xml"/><Relationship Id="rId20" Type="http://schemas.openxmlformats.org/officeDocument/2006/relationships/diagramLayout" Target="../diagrams/layout5.xml"/><Relationship Id="rId29" Type="http://schemas.openxmlformats.org/officeDocument/2006/relationships/diagramData" Target="../diagrams/data7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11" Type="http://schemas.openxmlformats.org/officeDocument/2006/relationships/diagramQuickStyle" Target="../diagrams/quickStyle3.xml"/><Relationship Id="rId24" Type="http://schemas.openxmlformats.org/officeDocument/2006/relationships/diagramData" Target="../diagrams/data6.xml"/><Relationship Id="rId32" Type="http://schemas.openxmlformats.org/officeDocument/2006/relationships/diagramColors" Target="../diagrams/colors7.xml"/><Relationship Id="rId5" Type="http://schemas.openxmlformats.org/officeDocument/2006/relationships/diagramQuickStyle" Target="../diagrams/quickStyle2.xml"/><Relationship Id="rId15" Type="http://schemas.openxmlformats.org/officeDocument/2006/relationships/diagramLayout" Target="../diagrams/layout4.xml"/><Relationship Id="rId23" Type="http://schemas.microsoft.com/office/2007/relationships/diagramDrawing" Target="../diagrams/drawing5.xml"/><Relationship Id="rId28" Type="http://schemas.microsoft.com/office/2007/relationships/diagramDrawing" Target="../diagrams/drawing6.xml"/><Relationship Id="rId10" Type="http://schemas.openxmlformats.org/officeDocument/2006/relationships/diagramLayout" Target="../diagrams/layout3.xml"/><Relationship Id="rId19" Type="http://schemas.openxmlformats.org/officeDocument/2006/relationships/diagramData" Target="../diagrams/data5.xml"/><Relationship Id="rId31" Type="http://schemas.openxmlformats.org/officeDocument/2006/relationships/diagramQuickStyle" Target="../diagrams/quickStyle7.xml"/><Relationship Id="rId4" Type="http://schemas.openxmlformats.org/officeDocument/2006/relationships/diagramLayout" Target="../diagrams/layout2.xml"/><Relationship Id="rId9" Type="http://schemas.openxmlformats.org/officeDocument/2006/relationships/diagramData" Target="../diagrams/data3.xml"/><Relationship Id="rId14" Type="http://schemas.openxmlformats.org/officeDocument/2006/relationships/diagramData" Target="../diagrams/data4.xml"/><Relationship Id="rId22" Type="http://schemas.openxmlformats.org/officeDocument/2006/relationships/diagramColors" Target="../diagrams/colors5.xml"/><Relationship Id="rId27" Type="http://schemas.openxmlformats.org/officeDocument/2006/relationships/diagramColors" Target="../diagrams/colors6.xml"/><Relationship Id="rId30" Type="http://schemas.openxmlformats.org/officeDocument/2006/relationships/diagramLayout" Target="../diagrams/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0.xml"/><Relationship Id="rId7" Type="http://schemas.microsoft.com/office/2007/relationships/diagramDrawing" Target="../diagrams/drawing10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0.xml"/><Relationship Id="rId5" Type="http://schemas.openxmlformats.org/officeDocument/2006/relationships/diagramQuickStyle" Target="../diagrams/quickStyle10.xml"/><Relationship Id="rId4" Type="http://schemas.openxmlformats.org/officeDocument/2006/relationships/diagramLayout" Target="../diagrams/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1.xml"/><Relationship Id="rId5" Type="http://schemas.openxmlformats.org/officeDocument/2006/relationships/diagramQuickStyle" Target="../diagrams/quickStyle11.xml"/><Relationship Id="rId4" Type="http://schemas.openxmlformats.org/officeDocument/2006/relationships/diagramLayout" Target="../diagrams/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2.xml"/><Relationship Id="rId7" Type="http://schemas.microsoft.com/office/2007/relationships/diagramDrawing" Target="../diagrams/drawing12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2.xml"/><Relationship Id="rId5" Type="http://schemas.openxmlformats.org/officeDocument/2006/relationships/diagramQuickStyle" Target="../diagrams/quickStyle12.xml"/><Relationship Id="rId4" Type="http://schemas.openxmlformats.org/officeDocument/2006/relationships/diagramLayout" Target="../diagrams/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6"/>
          <a:stretch/>
        </p:blipFill>
        <p:spPr>
          <a:xfrm>
            <a:off x="539552" y="216024"/>
            <a:ext cx="6989838" cy="5229200"/>
          </a:xfrm>
          <a:prstGeom prst="rect">
            <a:avLst/>
          </a:prstGeom>
          <a:ln>
            <a:noFill/>
          </a:ln>
          <a:effectLst>
            <a:outerShdw blurRad="225425" dist="50800" dir="5220000" algn="ctr">
              <a:srgbClr val="000000">
                <a:alpha val="33000"/>
              </a:srgbClr>
            </a:outerShdw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</p:pic>
      <p:sp>
        <p:nvSpPr>
          <p:cNvPr id="3" name="Retângulo 2"/>
          <p:cNvSpPr>
            <a:spLocks noChangeArrowheads="1"/>
          </p:cNvSpPr>
          <p:nvPr/>
        </p:nvSpPr>
        <p:spPr bwMode="auto">
          <a:xfrm>
            <a:off x="1763688" y="6093296"/>
            <a:ext cx="7175698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defTabSz="457200">
              <a:lnSpc>
                <a:spcPct val="90000"/>
              </a:lnSpc>
            </a:pPr>
            <a:r>
              <a:rPr lang="pt-BR" sz="2800" b="1" dirty="0">
                <a:solidFill>
                  <a:schemeClr val="accent1">
                    <a:lumMod val="50000"/>
                  </a:schemeClr>
                </a:solidFill>
                <a:latin typeface="Gill Sans Ultra Bold" pitchFamily="34" charset="0"/>
                <a:ea typeface="MS PGothic" charset="-128"/>
                <a:cs typeface="Arial" charset="0"/>
              </a:rPr>
              <a:t>Plano Estratégico TI </a:t>
            </a:r>
            <a:r>
              <a:rPr lang="pt-BR" sz="2800" b="1" dirty="0" smtClean="0">
                <a:solidFill>
                  <a:schemeClr val="accent1">
                    <a:lumMod val="50000"/>
                  </a:schemeClr>
                </a:solidFill>
                <a:latin typeface="Gill Sans Ultra Bold" pitchFamily="34" charset="0"/>
                <a:ea typeface="MS PGothic" charset="-128"/>
                <a:cs typeface="Arial" charset="0"/>
              </a:rPr>
              <a:t> 2016-17</a:t>
            </a:r>
            <a:endParaRPr lang="pt-BR" sz="2400" i="1" dirty="0">
              <a:solidFill>
                <a:schemeClr val="accent1">
                  <a:lumMod val="50000"/>
                </a:schemeClr>
              </a:solidFill>
              <a:latin typeface="Gill Sans Ultra Bold" pitchFamily="34" charset="0"/>
              <a:ea typeface="MS PGothic" charset="-128"/>
              <a:cs typeface="Arial" charset="0"/>
            </a:endParaRPr>
          </a:p>
        </p:txBody>
      </p:sp>
      <p:graphicFrame>
        <p:nvGraphicFramePr>
          <p:cNvPr id="5" name="Diagrama 4"/>
          <p:cNvGraphicFramePr/>
          <p:nvPr>
            <p:extLst>
              <p:ext uri="{D42A27DB-BD31-4B8C-83A1-F6EECF244321}">
                <p14:modId xmlns:p14="http://schemas.microsoft.com/office/powerpoint/2010/main" val="3492064632"/>
              </p:ext>
            </p:extLst>
          </p:nvPr>
        </p:nvGraphicFramePr>
        <p:xfrm>
          <a:off x="7092280" y="260648"/>
          <a:ext cx="1654746" cy="15841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o explicativo retangular com cantos arredondados 5"/>
          <p:cNvSpPr/>
          <p:nvPr/>
        </p:nvSpPr>
        <p:spPr>
          <a:xfrm>
            <a:off x="6698520" y="2204864"/>
            <a:ext cx="2240866" cy="1623889"/>
          </a:xfrm>
          <a:prstGeom prst="wedgeRoundRectCallout">
            <a:avLst>
              <a:gd name="adj1" fmla="val 5513"/>
              <a:gd name="adj2" fmla="val -125364"/>
              <a:gd name="adj3" fmla="val 16667"/>
            </a:avLst>
          </a:prstGeom>
          <a:solidFill>
            <a:srgbClr val="FFFF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 smtClean="0">
                <a:solidFill>
                  <a:schemeClr val="tx1"/>
                </a:solidFill>
              </a:rPr>
              <a:t>CLICK na imagem para incluir o logotipo da sua empresa</a:t>
            </a:r>
          </a:p>
          <a:p>
            <a:pPr algn="ctr"/>
            <a:endParaRPr lang="pt-B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741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1" y="1844824"/>
            <a:ext cx="9144000" cy="3888432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pic>
        <p:nvPicPr>
          <p:cNvPr id="16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0" y="260648"/>
            <a:ext cx="8077200" cy="1600200"/>
          </a:xfrm>
          <a:prstGeom prst="rect">
            <a:avLst/>
          </a:prstGeom>
          <a:noFill/>
        </p:spPr>
      </p:pic>
      <p:sp>
        <p:nvSpPr>
          <p:cNvPr id="17" name="Rectangle 15"/>
          <p:cNvSpPr>
            <a:spLocks/>
          </p:cNvSpPr>
          <p:nvPr/>
        </p:nvSpPr>
        <p:spPr bwMode="auto">
          <a:xfrm>
            <a:off x="956450" y="692696"/>
            <a:ext cx="6711894" cy="45665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t"/>
          <a:lstStyle/>
          <a:p>
            <a:r>
              <a:rPr lang="en-US" sz="2600" dirty="0">
                <a:solidFill>
                  <a:schemeClr val="bg1"/>
                </a:solidFill>
                <a:latin typeface="Gill Sans Light" pitchFamily="34" charset="0"/>
                <a:sym typeface="Gill Sans Std"/>
              </a:rPr>
              <a:t>TENDÊNCIAS </a:t>
            </a:r>
            <a:r>
              <a:rPr lang="en-US" sz="2600" dirty="0" smtClean="0">
                <a:solidFill>
                  <a:schemeClr val="bg1"/>
                </a:solidFill>
                <a:latin typeface="Gill Sans Light" pitchFamily="34" charset="0"/>
                <a:sym typeface="Gill Sans Std"/>
              </a:rPr>
              <a:t>TECNOLÓGICAS</a:t>
            </a:r>
            <a:endParaRPr lang="en-US" sz="2600" dirty="0">
              <a:solidFill>
                <a:schemeClr val="bg1"/>
              </a:solidFill>
              <a:latin typeface="Gill Sans Light" pitchFamily="34" charset="0"/>
              <a:sym typeface="Gill Sans Std"/>
            </a:endParaRPr>
          </a:p>
          <a:p>
            <a:endParaRPr lang="pt-BR" sz="2600" dirty="0">
              <a:solidFill>
                <a:schemeClr val="bg1"/>
              </a:solidFill>
              <a:latin typeface="Gill Sans Light" pitchFamily="34" charset="0"/>
              <a:sym typeface="Gill Sans Std"/>
            </a:endParaRPr>
          </a:p>
        </p:txBody>
      </p:sp>
      <p:graphicFrame>
        <p:nvGraphicFramePr>
          <p:cNvPr id="18" name="Diagrama 17"/>
          <p:cNvGraphicFramePr/>
          <p:nvPr>
            <p:extLst>
              <p:ext uri="{D42A27DB-BD31-4B8C-83A1-F6EECF244321}">
                <p14:modId xmlns:p14="http://schemas.microsoft.com/office/powerpoint/2010/main" val="654648310"/>
              </p:ext>
            </p:extLst>
          </p:nvPr>
        </p:nvGraphicFramePr>
        <p:xfrm>
          <a:off x="179512" y="5805264"/>
          <a:ext cx="1391816" cy="1368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56677" name="CaixaDeTexto 2"/>
          <p:cNvSpPr txBox="1">
            <a:spLocks noChangeArrowheads="1"/>
          </p:cNvSpPr>
          <p:nvPr/>
        </p:nvSpPr>
        <p:spPr bwMode="auto">
          <a:xfrm>
            <a:off x="683568" y="2135957"/>
            <a:ext cx="7777163" cy="4029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80000"/>
              </a:lnSpc>
              <a:spcBef>
                <a:spcPct val="20000"/>
              </a:spcBef>
              <a:spcAft>
                <a:spcPct val="30000"/>
              </a:spcAft>
            </a:pP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Redes Sociais 1.0 estão morrendo, a mídia social torna-se parte de um ecossistema </a:t>
            </a:r>
            <a:r>
              <a:rPr lang="pt-BR" dirty="0" smtClean="0">
                <a:solidFill>
                  <a:srgbClr val="C00000"/>
                </a:solidFill>
                <a:latin typeface="Gill Sans" pitchFamily="34" charset="0"/>
              </a:rPr>
              <a:t>transformador digital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 em tempo real e o </a:t>
            </a:r>
            <a:r>
              <a:rPr lang="pt-BR" dirty="0" smtClean="0">
                <a:solidFill>
                  <a:srgbClr val="C00000"/>
                </a:solidFill>
                <a:latin typeface="Gill Sans" pitchFamily="34" charset="0"/>
              </a:rPr>
              <a:t>marketing de conteúdo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 se torna mais sofisticado e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portátil. (Brian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Solis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–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Altimeter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)</a:t>
            </a:r>
          </a:p>
          <a:p>
            <a:pPr>
              <a:lnSpc>
                <a:spcPct val="80000"/>
              </a:lnSpc>
              <a:spcBef>
                <a:spcPct val="20000"/>
              </a:spcBef>
              <a:spcAft>
                <a:spcPct val="30000"/>
              </a:spcAft>
            </a:pP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As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pesquisas estão </a:t>
            </a:r>
            <a:r>
              <a:rPr lang="pt-BR" dirty="0">
                <a:solidFill>
                  <a:srgbClr val="C00000"/>
                </a:solidFill>
                <a:latin typeface="Gill Sans" pitchFamily="34" charset="0"/>
              </a:rPr>
              <a:t>saindo do </a:t>
            </a:r>
            <a:r>
              <a:rPr lang="pt-BR" dirty="0" smtClean="0">
                <a:solidFill>
                  <a:srgbClr val="C00000"/>
                </a:solidFill>
                <a:latin typeface="Gill Sans" pitchFamily="34" charset="0"/>
              </a:rPr>
              <a:t>Google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, mais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de 88% dos consumidores são </a:t>
            </a:r>
            <a:r>
              <a:rPr lang="pt-BR" dirty="0">
                <a:solidFill>
                  <a:srgbClr val="C00000"/>
                </a:solidFill>
                <a:latin typeface="Gill Sans" pitchFamily="34" charset="0"/>
              </a:rPr>
              <a:t>influenciados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por comentários online de outros 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consumidores (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principalmente opiniões de amigos).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Os clientes estão começando a pesquisar em lugares como o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Youtube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, Pinterest e também em 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aplicativos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. (Brian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Solis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–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Altimeter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)</a:t>
            </a:r>
            <a:endParaRPr lang="pt-BR" dirty="0">
              <a:solidFill>
                <a:srgbClr val="E03E52"/>
              </a:solidFill>
              <a:latin typeface="Gill Sans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spcAft>
                <a:spcPct val="30000"/>
              </a:spcAft>
            </a:pP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Até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2020, se espera que o número de dispositivos conectados à Internet ira exceder 40 bilhões. (Brian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Solis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–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Altimeter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)</a:t>
            </a:r>
            <a:endParaRPr lang="pt-BR" b="1" dirty="0">
              <a:solidFill>
                <a:srgbClr val="666666"/>
              </a:solidFill>
              <a:latin typeface="Gill Sans" pitchFamily="34" charset="0"/>
            </a:endParaRPr>
          </a:p>
          <a:p>
            <a:pPr>
              <a:buFont typeface="Arial" charset="0"/>
              <a:buChar char="•"/>
            </a:pPr>
            <a:endParaRPr lang="pt-BR" dirty="0">
              <a:solidFill>
                <a:srgbClr val="666666"/>
              </a:solidFill>
              <a:latin typeface="Gill Sans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6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66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667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/>
          <p:nvPr/>
        </p:nvSpPr>
        <p:spPr>
          <a:xfrm>
            <a:off x="1" y="1844824"/>
            <a:ext cx="9144000" cy="3888432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pic>
        <p:nvPicPr>
          <p:cNvPr id="157699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0" y="260648"/>
            <a:ext cx="8077200" cy="1600200"/>
          </a:xfrm>
          <a:prstGeom prst="rect">
            <a:avLst/>
          </a:prstGeom>
          <a:noFill/>
        </p:spPr>
      </p:pic>
      <p:sp>
        <p:nvSpPr>
          <p:cNvPr id="53" name="Rectangle 15"/>
          <p:cNvSpPr>
            <a:spLocks/>
          </p:cNvSpPr>
          <p:nvPr/>
        </p:nvSpPr>
        <p:spPr bwMode="auto">
          <a:xfrm>
            <a:off x="956450" y="692696"/>
            <a:ext cx="6711894" cy="45665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t"/>
          <a:lstStyle/>
          <a:p>
            <a:r>
              <a:rPr lang="en-US" sz="2600" dirty="0">
                <a:solidFill>
                  <a:schemeClr val="bg1"/>
                </a:solidFill>
                <a:latin typeface="Gill Sans Light" pitchFamily="34" charset="0"/>
                <a:sym typeface="Gill Sans Std"/>
              </a:rPr>
              <a:t>TENDÊNCIAS </a:t>
            </a:r>
            <a:r>
              <a:rPr lang="en-US" sz="2600" dirty="0" smtClean="0">
                <a:solidFill>
                  <a:schemeClr val="bg1"/>
                </a:solidFill>
                <a:latin typeface="Gill Sans Light" pitchFamily="34" charset="0"/>
                <a:sym typeface="Gill Sans Std"/>
              </a:rPr>
              <a:t>TECNOLÓGICAS</a:t>
            </a:r>
            <a:endParaRPr lang="en-US" sz="2600" dirty="0">
              <a:solidFill>
                <a:schemeClr val="bg1"/>
              </a:solidFill>
              <a:latin typeface="Gill Sans Light" pitchFamily="34" charset="0"/>
              <a:sym typeface="Gill Sans Std"/>
            </a:endParaRPr>
          </a:p>
          <a:p>
            <a:endParaRPr lang="pt-BR" sz="2600" dirty="0">
              <a:solidFill>
                <a:schemeClr val="bg1"/>
              </a:solidFill>
              <a:latin typeface="Gill Sans Light" pitchFamily="34" charset="0"/>
              <a:sym typeface="Gill Sans Std"/>
            </a:endParaRPr>
          </a:p>
        </p:txBody>
      </p:sp>
      <p:sp>
        <p:nvSpPr>
          <p:cNvPr id="157701" name="CaixaDeTexto 2"/>
          <p:cNvSpPr txBox="1">
            <a:spLocks noChangeArrowheads="1"/>
          </p:cNvSpPr>
          <p:nvPr/>
        </p:nvSpPr>
        <p:spPr bwMode="auto">
          <a:xfrm>
            <a:off x="827584" y="2064221"/>
            <a:ext cx="7705551" cy="34530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80000"/>
              </a:lnSpc>
              <a:spcBef>
                <a:spcPct val="20000"/>
              </a:spcBef>
              <a:spcAft>
                <a:spcPct val="30000"/>
              </a:spcAft>
            </a:pPr>
            <a:r>
              <a:rPr lang="pt-BR" dirty="0" err="1">
                <a:solidFill>
                  <a:srgbClr val="C00000"/>
                </a:solidFill>
                <a:latin typeface="Gill Sans" pitchFamily="34" charset="0"/>
              </a:rPr>
              <a:t>Wearables</a:t>
            </a:r>
            <a:r>
              <a:rPr lang="pt-BR" dirty="0">
                <a:solidFill>
                  <a:srgbClr val="C00000"/>
                </a:solidFill>
                <a:latin typeface="Gill Sans" pitchFamily="34" charset="0"/>
              </a:rPr>
              <a:t>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(tecnologia de vestir) 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está 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entrando 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na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vida cotidiana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. Os relógios vão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se tornar moda. 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Eles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precisam de um conjunto de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apps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funcionais ainda. (Brian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Solis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–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Altimeter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)</a:t>
            </a:r>
            <a:endParaRPr lang="pt-BR" dirty="0">
              <a:solidFill>
                <a:srgbClr val="666666"/>
              </a:solidFill>
              <a:latin typeface="Gill Sans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spcAft>
                <a:spcPct val="30000"/>
              </a:spcAft>
            </a:pP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Algumas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empresas ainda são 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conservadoras e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acreditam que a internet não deve ser aberto por uma questão de 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segurança.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Isto irá </a:t>
            </a:r>
            <a:r>
              <a:rPr lang="pt-BR" dirty="0">
                <a:solidFill>
                  <a:srgbClr val="C00000"/>
                </a:solidFill>
                <a:latin typeface="Gill Sans" pitchFamily="34" charset="0"/>
              </a:rPr>
              <a:t>impedir a </a:t>
            </a:r>
            <a:r>
              <a:rPr lang="pt-BR" dirty="0" smtClean="0">
                <a:solidFill>
                  <a:srgbClr val="C00000"/>
                </a:solidFill>
                <a:latin typeface="Gill Sans" pitchFamily="34" charset="0"/>
              </a:rPr>
              <a:t>inovação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. (Brian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Solis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–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Altimeter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)</a:t>
            </a:r>
          </a:p>
          <a:p>
            <a:pPr>
              <a:lnSpc>
                <a:spcPct val="80000"/>
              </a:lnSpc>
              <a:spcBef>
                <a:spcPct val="20000"/>
              </a:spcBef>
              <a:spcAft>
                <a:spcPct val="30000"/>
              </a:spcAft>
            </a:pP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Personalização em massa e 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suítes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completas de marketing serão 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as formas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como as empresas precisarão repensar suas estratégias de marketing. </a:t>
            </a:r>
            <a:r>
              <a:rPr lang="pt-BR" dirty="0">
                <a:solidFill>
                  <a:srgbClr val="C00000"/>
                </a:solidFill>
                <a:latin typeface="Gill Sans" pitchFamily="34" charset="0"/>
              </a:rPr>
              <a:t>Pessoal e interativo</a:t>
            </a:r>
            <a:r>
              <a:rPr lang="pt-BR" dirty="0">
                <a:solidFill>
                  <a:srgbClr val="FF0000"/>
                </a:solidFill>
                <a:latin typeface="Gill Sans" pitchFamily="34" charset="0"/>
              </a:rPr>
              <a:t>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será o 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novo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. (Brian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Solis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–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Altimeter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)</a:t>
            </a:r>
            <a:endParaRPr lang="pt-BR" dirty="0">
              <a:solidFill>
                <a:srgbClr val="666666"/>
              </a:solidFill>
              <a:latin typeface="Gill Sans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spcAft>
                <a:spcPct val="30000"/>
              </a:spcAft>
              <a:buFont typeface="Arial" charset="0"/>
              <a:buNone/>
            </a:pPr>
            <a:endParaRPr lang="pt-BR" b="1" dirty="0">
              <a:solidFill>
                <a:srgbClr val="666666"/>
              </a:solidFill>
              <a:latin typeface="Gill Sans" pitchFamily="34" charset="0"/>
            </a:endParaRPr>
          </a:p>
          <a:p>
            <a:pPr>
              <a:buFont typeface="Arial" charset="0"/>
              <a:buChar char="•"/>
            </a:pPr>
            <a:endParaRPr lang="pt-BR" b="1" dirty="0">
              <a:solidFill>
                <a:srgbClr val="666666"/>
              </a:solidFill>
              <a:latin typeface="Gill Sans" pitchFamily="34" charset="0"/>
            </a:endParaRPr>
          </a:p>
          <a:p>
            <a:pPr>
              <a:buFont typeface="Arial" charset="0"/>
              <a:buChar char="•"/>
            </a:pPr>
            <a:endParaRPr lang="pt-BR" dirty="0">
              <a:solidFill>
                <a:srgbClr val="666666"/>
              </a:solidFill>
              <a:latin typeface="Gill Sans" pitchFamily="34" charset="0"/>
            </a:endParaRPr>
          </a:p>
        </p:txBody>
      </p:sp>
      <p:graphicFrame>
        <p:nvGraphicFramePr>
          <p:cNvPr id="9" name="Diagrama 8"/>
          <p:cNvGraphicFramePr/>
          <p:nvPr>
            <p:extLst>
              <p:ext uri="{D42A27DB-BD31-4B8C-83A1-F6EECF244321}">
                <p14:modId xmlns:p14="http://schemas.microsoft.com/office/powerpoint/2010/main" val="505345465"/>
              </p:ext>
            </p:extLst>
          </p:nvPr>
        </p:nvGraphicFramePr>
        <p:xfrm>
          <a:off x="179512" y="5805264"/>
          <a:ext cx="1391816" cy="1368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7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77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770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/>
          <p:nvPr/>
        </p:nvSpPr>
        <p:spPr>
          <a:xfrm>
            <a:off x="1" y="1844824"/>
            <a:ext cx="9144000" cy="3888432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pic>
        <p:nvPicPr>
          <p:cNvPr id="9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0" y="260648"/>
            <a:ext cx="8077200" cy="1600200"/>
          </a:xfrm>
          <a:prstGeom prst="rect">
            <a:avLst/>
          </a:prstGeom>
          <a:noFill/>
        </p:spPr>
      </p:pic>
      <p:sp>
        <p:nvSpPr>
          <p:cNvPr id="10" name="Rectangle 15"/>
          <p:cNvSpPr>
            <a:spLocks/>
          </p:cNvSpPr>
          <p:nvPr/>
        </p:nvSpPr>
        <p:spPr bwMode="auto">
          <a:xfrm>
            <a:off x="956450" y="692696"/>
            <a:ext cx="6711894" cy="45665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t"/>
          <a:lstStyle/>
          <a:p>
            <a:r>
              <a:rPr lang="en-US" sz="2600" dirty="0">
                <a:solidFill>
                  <a:schemeClr val="bg1"/>
                </a:solidFill>
                <a:latin typeface="Gill Sans Light" pitchFamily="34" charset="0"/>
                <a:sym typeface="Gill Sans Std"/>
              </a:rPr>
              <a:t>TENDÊNCIAS </a:t>
            </a:r>
            <a:r>
              <a:rPr lang="en-US" sz="2600" dirty="0" smtClean="0">
                <a:solidFill>
                  <a:schemeClr val="bg1"/>
                </a:solidFill>
                <a:latin typeface="Gill Sans Light" pitchFamily="34" charset="0"/>
                <a:sym typeface="Gill Sans Std"/>
              </a:rPr>
              <a:t>TECNOLÓGICAS</a:t>
            </a:r>
            <a:endParaRPr lang="en-US" sz="2600" dirty="0">
              <a:solidFill>
                <a:schemeClr val="bg1"/>
              </a:solidFill>
              <a:latin typeface="Gill Sans Light" pitchFamily="34" charset="0"/>
              <a:sym typeface="Gill Sans Std"/>
            </a:endParaRPr>
          </a:p>
          <a:p>
            <a:endParaRPr lang="pt-BR" sz="2600" dirty="0">
              <a:solidFill>
                <a:schemeClr val="bg1"/>
              </a:solidFill>
              <a:latin typeface="Gill Sans Light" pitchFamily="34" charset="0"/>
              <a:sym typeface="Gill Sans Std"/>
            </a:endParaRPr>
          </a:p>
        </p:txBody>
      </p:sp>
      <p:graphicFrame>
        <p:nvGraphicFramePr>
          <p:cNvPr id="12" name="Diagrama 11"/>
          <p:cNvGraphicFramePr/>
          <p:nvPr>
            <p:extLst>
              <p:ext uri="{D42A27DB-BD31-4B8C-83A1-F6EECF244321}">
                <p14:modId xmlns:p14="http://schemas.microsoft.com/office/powerpoint/2010/main" val="2526544686"/>
              </p:ext>
            </p:extLst>
          </p:nvPr>
        </p:nvGraphicFramePr>
        <p:xfrm>
          <a:off x="179512" y="5805264"/>
          <a:ext cx="1391816" cy="1368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58725" name="CaixaDeTexto 2"/>
          <p:cNvSpPr txBox="1">
            <a:spLocks noChangeArrowheads="1"/>
          </p:cNvSpPr>
          <p:nvPr/>
        </p:nvSpPr>
        <p:spPr bwMode="auto">
          <a:xfrm>
            <a:off x="801827" y="2075973"/>
            <a:ext cx="7586598" cy="35132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80000"/>
              </a:lnSpc>
              <a:spcBef>
                <a:spcPct val="20000"/>
              </a:spcBef>
              <a:spcAft>
                <a:spcPct val="30000"/>
              </a:spcAft>
            </a:pP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Os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“</a:t>
            </a:r>
            <a:r>
              <a:rPr lang="pt-BR" dirty="0" err="1" smtClean="0">
                <a:solidFill>
                  <a:srgbClr val="C00000"/>
                </a:solidFill>
                <a:latin typeface="Gill Sans" pitchFamily="34" charset="0"/>
              </a:rPr>
              <a:t>Drones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” irão mudar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o jogo para a </a:t>
            </a:r>
            <a:r>
              <a:rPr lang="pt-BR" dirty="0" smtClean="0">
                <a:solidFill>
                  <a:srgbClr val="C00000"/>
                </a:solidFill>
                <a:latin typeface="Gill Sans" pitchFamily="34" charset="0"/>
              </a:rPr>
              <a:t>logística</a:t>
            </a:r>
            <a:r>
              <a:rPr lang="pt-BR" dirty="0" smtClean="0">
                <a:solidFill>
                  <a:srgbClr val="FF0000"/>
                </a:solidFill>
                <a:latin typeface="Gill Sans" pitchFamily="34" charset="0"/>
              </a:rPr>
              <a:t>.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(Brian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Solis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–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Altimeter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)</a:t>
            </a:r>
            <a:endParaRPr lang="pt-BR" dirty="0" smtClean="0">
              <a:solidFill>
                <a:srgbClr val="FF0000"/>
              </a:solidFill>
              <a:latin typeface="Gill Sans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spcAft>
                <a:spcPct val="30000"/>
              </a:spcAft>
            </a:pPr>
            <a:r>
              <a:rPr lang="pt-BR" dirty="0" smtClean="0">
                <a:solidFill>
                  <a:srgbClr val="C00000"/>
                </a:solidFill>
                <a:latin typeface="Gill Sans" pitchFamily="34" charset="0"/>
              </a:rPr>
              <a:t>Big </a:t>
            </a:r>
            <a:r>
              <a:rPr lang="pt-BR" dirty="0">
                <a:solidFill>
                  <a:srgbClr val="C00000"/>
                </a:solidFill>
                <a:latin typeface="Gill Sans" pitchFamily="34" charset="0"/>
              </a:rPr>
              <a:t>D</a:t>
            </a:r>
            <a:r>
              <a:rPr lang="pt-BR" dirty="0" smtClean="0">
                <a:solidFill>
                  <a:srgbClr val="C00000"/>
                </a:solidFill>
                <a:latin typeface="Gill Sans" pitchFamily="34" charset="0"/>
              </a:rPr>
              <a:t>ata </a:t>
            </a:r>
            <a:r>
              <a:rPr lang="pt-BR" dirty="0">
                <a:solidFill>
                  <a:srgbClr val="C00000"/>
                </a:solidFill>
                <a:latin typeface="Gill Sans" pitchFamily="34" charset="0"/>
              </a:rPr>
              <a:t>e</a:t>
            </a:r>
            <a:r>
              <a:rPr lang="pt-BR" dirty="0" smtClean="0">
                <a:solidFill>
                  <a:srgbClr val="C00000"/>
                </a:solidFill>
                <a:latin typeface="Gill Sans" pitchFamily="34" charset="0"/>
              </a:rPr>
              <a:t> </a:t>
            </a:r>
            <a:r>
              <a:rPr lang="pt-BR" dirty="0" err="1" smtClean="0">
                <a:solidFill>
                  <a:srgbClr val="C00000"/>
                </a:solidFill>
                <a:latin typeface="Gill Sans" pitchFamily="34" charset="0"/>
              </a:rPr>
              <a:t>Beacons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, fornecera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às empresas infinitas oportunidades para coletar </a:t>
            </a:r>
            <a:r>
              <a:rPr lang="pt-BR" dirty="0">
                <a:solidFill>
                  <a:srgbClr val="C00000"/>
                </a:solidFill>
                <a:latin typeface="Gill Sans" pitchFamily="34" charset="0"/>
              </a:rPr>
              <a:t>grandes quantidades de dados</a:t>
            </a:r>
            <a:r>
              <a:rPr lang="pt-BR" dirty="0">
                <a:solidFill>
                  <a:srgbClr val="FF0000"/>
                </a:solidFill>
                <a:latin typeface="Gill Sans" pitchFamily="34" charset="0"/>
              </a:rPr>
              <a:t>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ainda não explorados, tais como o número de visitas nas suas lojas (físicas) e tempo de permanência do cliente em um local específico, horas de maior 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movimento, etc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. (Brian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Solis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–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Altimeter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)</a:t>
            </a:r>
          </a:p>
          <a:p>
            <a:pPr>
              <a:lnSpc>
                <a:spcPct val="80000"/>
              </a:lnSpc>
              <a:spcBef>
                <a:spcPct val="20000"/>
              </a:spcBef>
              <a:spcAft>
                <a:spcPct val="30000"/>
              </a:spcAft>
            </a:pPr>
            <a:r>
              <a:rPr lang="pt-BR" dirty="0" err="1">
                <a:solidFill>
                  <a:srgbClr val="C00000"/>
                </a:solidFill>
                <a:latin typeface="Gill Sans" pitchFamily="34" charset="0"/>
              </a:rPr>
              <a:t>Webrooming</a:t>
            </a:r>
            <a:r>
              <a:rPr lang="pt-BR" dirty="0">
                <a:solidFill>
                  <a:srgbClr val="C00000"/>
                </a:solidFill>
                <a:latin typeface="Gill Sans" pitchFamily="34" charset="0"/>
              </a:rPr>
              <a:t>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se tornara mais comum do que </a:t>
            </a:r>
            <a:r>
              <a:rPr lang="pt-BR" dirty="0" err="1" smtClean="0">
                <a:solidFill>
                  <a:srgbClr val="C00000"/>
                </a:solidFill>
                <a:latin typeface="Gill Sans" pitchFamily="34" charset="0"/>
              </a:rPr>
              <a:t>showrooming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.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Webrooming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é a </a:t>
            </a:r>
            <a:r>
              <a:rPr lang="pt-BR" dirty="0">
                <a:solidFill>
                  <a:srgbClr val="C00000"/>
                </a:solidFill>
                <a:latin typeface="Gill Sans" pitchFamily="34" charset="0"/>
              </a:rPr>
              <a:t>prática de pesquisa on-line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para depois comprar nas lojas físicas, e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showrooming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é a pesquisa na própria loja física. (Brian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Solis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–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Altimeter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)</a:t>
            </a:r>
            <a:endParaRPr lang="pt-BR" dirty="0">
              <a:solidFill>
                <a:srgbClr val="666666"/>
              </a:solidFill>
              <a:latin typeface="Gill Sans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spcAft>
                <a:spcPct val="30000"/>
              </a:spcAft>
              <a:buFont typeface="Arial" charset="0"/>
              <a:buNone/>
            </a:pPr>
            <a:endParaRPr lang="pt-BR" dirty="0">
              <a:solidFill>
                <a:srgbClr val="666666"/>
              </a:solidFill>
              <a:latin typeface="Gill Sans" pitchFamily="34" charset="0"/>
            </a:endParaRPr>
          </a:p>
          <a:p>
            <a:endParaRPr lang="pt-BR" b="1" dirty="0">
              <a:solidFill>
                <a:srgbClr val="666666"/>
              </a:solidFill>
              <a:latin typeface="Gill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7521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87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-36512" y="1412776"/>
            <a:ext cx="9180512" cy="3294906"/>
          </a:xfrm>
          <a:prstGeom prst="rect">
            <a:avLst/>
          </a:prstGeom>
          <a:noFill/>
        </p:spPr>
      </p:pic>
      <p:pic>
        <p:nvPicPr>
          <p:cNvPr id="34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-36512" y="4149080"/>
            <a:ext cx="9180512" cy="3168352"/>
          </a:xfrm>
          <a:prstGeom prst="rect">
            <a:avLst/>
          </a:prstGeom>
          <a:noFill/>
        </p:spPr>
      </p:pic>
      <p:sp>
        <p:nvSpPr>
          <p:cNvPr id="9" name="Retângulo 6"/>
          <p:cNvSpPr>
            <a:spLocks noChangeArrowheads="1"/>
          </p:cNvSpPr>
          <p:nvPr/>
        </p:nvSpPr>
        <p:spPr bwMode="auto">
          <a:xfrm>
            <a:off x="277812" y="1754188"/>
            <a:ext cx="2503488" cy="739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en-US" sz="2800" dirty="0" err="1">
                <a:solidFill>
                  <a:schemeClr val="bg1"/>
                </a:solidFill>
                <a:latin typeface="Gill Sans" pitchFamily="34" charset="0"/>
                <a:cs typeface="Times New Roman" pitchFamily="18" charset="0"/>
                <a:sym typeface="Gill Sans Std"/>
              </a:rPr>
              <a:t>Tendências</a:t>
            </a:r>
            <a:r>
              <a:rPr lang="en-US" sz="2800" dirty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  <a:sym typeface="Gill Sans Std"/>
              </a:rPr>
              <a:t> </a:t>
            </a:r>
            <a:r>
              <a:rPr lang="en-US" sz="2800" dirty="0" err="1">
                <a:solidFill>
                  <a:schemeClr val="bg1"/>
                </a:solidFill>
                <a:latin typeface="Gill Sans" pitchFamily="34" charset="0"/>
                <a:cs typeface="Times New Roman" pitchFamily="18" charset="0"/>
                <a:sym typeface="Gill Sans Std"/>
              </a:rPr>
              <a:t>Tecnológicas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sp>
        <p:nvSpPr>
          <p:cNvPr id="10" name="Retângulo 6"/>
          <p:cNvSpPr>
            <a:spLocks noChangeArrowheads="1"/>
          </p:cNvSpPr>
          <p:nvPr/>
        </p:nvSpPr>
        <p:spPr bwMode="auto">
          <a:xfrm>
            <a:off x="3390900" y="1911350"/>
            <a:ext cx="2695575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Realizações</a:t>
            </a:r>
          </a:p>
        </p:txBody>
      </p:sp>
      <p:sp>
        <p:nvSpPr>
          <p:cNvPr id="11" name="Retângulo 6"/>
          <p:cNvSpPr>
            <a:spLocks noChangeArrowheads="1"/>
          </p:cNvSpPr>
          <p:nvPr/>
        </p:nvSpPr>
        <p:spPr bwMode="auto">
          <a:xfrm>
            <a:off x="6443663" y="1813361"/>
            <a:ext cx="252095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 smtClean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Nossa</a:t>
            </a:r>
          </a:p>
          <a:p>
            <a:pPr algn="ctr" eaLnBrk="0" hangingPunct="0">
              <a:lnSpc>
                <a:spcPct val="75000"/>
              </a:lnSpc>
            </a:pPr>
            <a:r>
              <a:rPr lang="pt-BR" sz="2800" dirty="0" smtClean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Maturidade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sp>
        <p:nvSpPr>
          <p:cNvPr id="13" name="Retângulo 6"/>
          <p:cNvSpPr>
            <a:spLocks noChangeArrowheads="1"/>
          </p:cNvSpPr>
          <p:nvPr/>
        </p:nvSpPr>
        <p:spPr bwMode="auto">
          <a:xfrm>
            <a:off x="3224213" y="4707682"/>
            <a:ext cx="2695575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 err="1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Roadmap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sp>
        <p:nvSpPr>
          <p:cNvPr id="14" name="Retângulo 6"/>
          <p:cNvSpPr>
            <a:spLocks noChangeArrowheads="1"/>
          </p:cNvSpPr>
          <p:nvPr/>
        </p:nvSpPr>
        <p:spPr bwMode="auto">
          <a:xfrm>
            <a:off x="6362700" y="4740731"/>
            <a:ext cx="2660650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 smtClean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Investimentos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cxnSp>
        <p:nvCxnSpPr>
          <p:cNvPr id="24" name="Conector reto 23"/>
          <p:cNvCxnSpPr/>
          <p:nvPr/>
        </p:nvCxnSpPr>
        <p:spPr>
          <a:xfrm>
            <a:off x="2949575" y="1878013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to 24"/>
          <p:cNvCxnSpPr/>
          <p:nvPr/>
        </p:nvCxnSpPr>
        <p:spPr>
          <a:xfrm>
            <a:off x="6215063" y="1878013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to 25"/>
          <p:cNvCxnSpPr/>
          <p:nvPr/>
        </p:nvCxnSpPr>
        <p:spPr>
          <a:xfrm>
            <a:off x="2947988" y="4615607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to 26"/>
          <p:cNvCxnSpPr/>
          <p:nvPr/>
        </p:nvCxnSpPr>
        <p:spPr>
          <a:xfrm>
            <a:off x="6200775" y="4615607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Diagrama 22"/>
          <p:cNvGraphicFramePr/>
          <p:nvPr/>
        </p:nvGraphicFramePr>
        <p:xfrm>
          <a:off x="155848" y="188640"/>
          <a:ext cx="1391816" cy="1368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0" name="Retângulo 6"/>
          <p:cNvSpPr>
            <a:spLocks noChangeArrowheads="1"/>
          </p:cNvSpPr>
          <p:nvPr/>
        </p:nvSpPr>
        <p:spPr bwMode="auto">
          <a:xfrm>
            <a:off x="117475" y="4661644"/>
            <a:ext cx="2695575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Uma Nova TI</a:t>
            </a:r>
          </a:p>
        </p:txBody>
      </p:sp>
      <p:sp>
        <p:nvSpPr>
          <p:cNvPr id="31" name="Retângulo 3"/>
          <p:cNvSpPr>
            <a:spLocks noChangeArrowheads="1"/>
          </p:cNvSpPr>
          <p:nvPr/>
        </p:nvSpPr>
        <p:spPr bwMode="auto">
          <a:xfrm>
            <a:off x="3092450" y="180187"/>
            <a:ext cx="3108543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/>
            <a:r>
              <a:rPr lang="pt-BR" sz="5400" dirty="0">
                <a:solidFill>
                  <a:schemeClr val="accent1">
                    <a:lumMod val="50000"/>
                  </a:schemeClr>
                </a:solidFill>
                <a:latin typeface="Gill Sans Light" pitchFamily="34" charset="0"/>
                <a:cs typeface="Times New Roman" pitchFamily="18" charset="0"/>
              </a:rPr>
              <a:t>AGENDA</a:t>
            </a:r>
          </a:p>
        </p:txBody>
      </p:sp>
      <p:pic>
        <p:nvPicPr>
          <p:cNvPr id="16" name="Imagem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6226" y="2535598"/>
            <a:ext cx="1720970" cy="1541474"/>
          </a:xfrm>
          <a:prstGeom prst="rect">
            <a:avLst/>
          </a:prstGeom>
          <a:ln>
            <a:noFill/>
          </a:ln>
        </p:spPr>
      </p:pic>
      <p:graphicFrame>
        <p:nvGraphicFramePr>
          <p:cNvPr id="40" name="Diagrama 39"/>
          <p:cNvGraphicFramePr/>
          <p:nvPr/>
        </p:nvGraphicFramePr>
        <p:xfrm>
          <a:off x="3950812" y="2492895"/>
          <a:ext cx="1773316" cy="15511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41" name="Diagrama 40"/>
          <p:cNvGraphicFramePr/>
          <p:nvPr/>
        </p:nvGraphicFramePr>
        <p:xfrm>
          <a:off x="6804248" y="2540769"/>
          <a:ext cx="2088357" cy="15363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graphicFrame>
        <p:nvGraphicFramePr>
          <p:cNvPr id="42" name="Diagrama 41"/>
          <p:cNvGraphicFramePr/>
          <p:nvPr/>
        </p:nvGraphicFramePr>
        <p:xfrm>
          <a:off x="666227" y="5124143"/>
          <a:ext cx="1720970" cy="1560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  <p:graphicFrame>
        <p:nvGraphicFramePr>
          <p:cNvPr id="43" name="Diagrama 42"/>
          <p:cNvGraphicFramePr/>
          <p:nvPr/>
        </p:nvGraphicFramePr>
        <p:xfrm>
          <a:off x="3707904" y="5136700"/>
          <a:ext cx="1759129" cy="14674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4" r:lo="rId25" r:qs="rId26" r:cs="rId27"/>
          </a:graphicData>
        </a:graphic>
      </p:graphicFrame>
      <p:graphicFrame>
        <p:nvGraphicFramePr>
          <p:cNvPr id="44" name="Diagrama 43"/>
          <p:cNvGraphicFramePr/>
          <p:nvPr/>
        </p:nvGraphicFramePr>
        <p:xfrm>
          <a:off x="6804247" y="5162457"/>
          <a:ext cx="1915571" cy="15121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9" r:lo="rId30" r:qs="rId31" r:cs="rId32"/>
          </a:graphicData>
        </a:graphic>
      </p:graphicFrame>
      <p:sp>
        <p:nvSpPr>
          <p:cNvPr id="22" name="Seta para baixo 21"/>
          <p:cNvSpPr/>
          <p:nvPr/>
        </p:nvSpPr>
        <p:spPr>
          <a:xfrm rot="3556369">
            <a:off x="5777102" y="1383941"/>
            <a:ext cx="792088" cy="1048657"/>
          </a:xfrm>
          <a:prstGeom prst="downArrow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2385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3" grpId="0"/>
      <p:bldP spid="14" grpId="0"/>
      <p:bldP spid="30" grpId="0"/>
      <p:bldP spid="22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tângulo 27"/>
          <p:cNvSpPr/>
          <p:nvPr/>
        </p:nvSpPr>
        <p:spPr>
          <a:xfrm>
            <a:off x="1" y="1844824"/>
            <a:ext cx="9144000" cy="3888432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sp>
        <p:nvSpPr>
          <p:cNvPr id="2" name="Retângulo de cantos arredondados 1"/>
          <p:cNvSpPr/>
          <p:nvPr/>
        </p:nvSpPr>
        <p:spPr>
          <a:xfrm>
            <a:off x="323528" y="3699869"/>
            <a:ext cx="8064896" cy="364488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pic>
        <p:nvPicPr>
          <p:cNvPr id="30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0" y="260648"/>
            <a:ext cx="8077200" cy="1600200"/>
          </a:xfrm>
          <a:prstGeom prst="rect">
            <a:avLst/>
          </a:prstGeom>
          <a:noFill/>
        </p:spPr>
      </p:pic>
      <p:sp>
        <p:nvSpPr>
          <p:cNvPr id="43" name="Rectangle 15"/>
          <p:cNvSpPr>
            <a:spLocks/>
          </p:cNvSpPr>
          <p:nvPr/>
        </p:nvSpPr>
        <p:spPr bwMode="auto">
          <a:xfrm>
            <a:off x="956450" y="692696"/>
            <a:ext cx="6711894" cy="45665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t"/>
          <a:lstStyle/>
          <a:p>
            <a:r>
              <a:rPr lang="en-US" sz="2600" dirty="0" smtClean="0">
                <a:solidFill>
                  <a:schemeClr val="bg1"/>
                </a:solidFill>
                <a:latin typeface="Gill Sans Light" pitchFamily="34" charset="0"/>
                <a:sym typeface="Gill Sans Std"/>
              </a:rPr>
              <a:t>Breve </a:t>
            </a:r>
            <a:r>
              <a:rPr lang="en-US" sz="2600" dirty="0" err="1" smtClean="0">
                <a:solidFill>
                  <a:schemeClr val="bg1"/>
                </a:solidFill>
                <a:latin typeface="Gill Sans Light" pitchFamily="34" charset="0"/>
                <a:sym typeface="Gill Sans Std"/>
              </a:rPr>
              <a:t>História</a:t>
            </a:r>
            <a:r>
              <a:rPr lang="en-US" sz="2600" dirty="0" smtClean="0">
                <a:solidFill>
                  <a:schemeClr val="bg1"/>
                </a:solidFill>
                <a:latin typeface="Gill Sans Light" pitchFamily="34" charset="0"/>
                <a:sym typeface="Gill Sans Std"/>
              </a:rPr>
              <a:t> da </a:t>
            </a:r>
            <a:r>
              <a:rPr lang="en-US" sz="2600" dirty="0" err="1" smtClean="0">
                <a:solidFill>
                  <a:schemeClr val="bg1"/>
                </a:solidFill>
                <a:latin typeface="Gill Sans Light" pitchFamily="34" charset="0"/>
                <a:sym typeface="Gill Sans Std"/>
              </a:rPr>
              <a:t>Nossa</a:t>
            </a:r>
            <a:r>
              <a:rPr lang="en-US" sz="2600" dirty="0" smtClean="0">
                <a:solidFill>
                  <a:schemeClr val="bg1"/>
                </a:solidFill>
                <a:latin typeface="Gill Sans Light" pitchFamily="34" charset="0"/>
                <a:sym typeface="Gill Sans Std"/>
              </a:rPr>
              <a:t> TI</a:t>
            </a:r>
            <a:endParaRPr lang="en-US" sz="2600" dirty="0">
              <a:solidFill>
                <a:schemeClr val="bg1"/>
              </a:solidFill>
              <a:latin typeface="Gill Sans Light" pitchFamily="34" charset="0"/>
              <a:sym typeface="Gill Sans Std"/>
            </a:endParaRPr>
          </a:p>
          <a:p>
            <a:endParaRPr lang="pt-BR" sz="2600" dirty="0">
              <a:solidFill>
                <a:schemeClr val="bg1"/>
              </a:solidFill>
              <a:latin typeface="Gill Sans Light" pitchFamily="34" charset="0"/>
              <a:sym typeface="Gill Sans Std"/>
            </a:endParaRPr>
          </a:p>
        </p:txBody>
      </p:sp>
      <p:graphicFrame>
        <p:nvGraphicFramePr>
          <p:cNvPr id="44" name="Diagrama 43"/>
          <p:cNvGraphicFramePr/>
          <p:nvPr>
            <p:extLst>
              <p:ext uri="{D42A27DB-BD31-4B8C-83A1-F6EECF244321}">
                <p14:modId xmlns:p14="http://schemas.microsoft.com/office/powerpoint/2010/main" val="1383870597"/>
              </p:ext>
            </p:extLst>
          </p:nvPr>
        </p:nvGraphicFramePr>
        <p:xfrm>
          <a:off x="179512" y="5805264"/>
          <a:ext cx="1391816" cy="1368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1" name="CaixaDeTexto 1"/>
          <p:cNvSpPr txBox="1"/>
          <p:nvPr/>
        </p:nvSpPr>
        <p:spPr>
          <a:xfrm rot="-2700000">
            <a:off x="632100" y="2319767"/>
            <a:ext cx="233795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05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.....................................</a:t>
            </a:r>
          </a:p>
          <a:p>
            <a:r>
              <a:rPr lang="pt-BR" sz="105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.......................................</a:t>
            </a:r>
            <a:endParaRPr lang="pt-BR" sz="105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CaixaDeTexto 11"/>
          <p:cNvSpPr txBox="1"/>
          <p:nvPr/>
        </p:nvSpPr>
        <p:spPr>
          <a:xfrm rot="2700000">
            <a:off x="1650193" y="5158069"/>
            <a:ext cx="266046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05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...........................</a:t>
            </a:r>
          </a:p>
          <a:p>
            <a:r>
              <a:rPr lang="pt-BR" sz="105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............................</a:t>
            </a:r>
          </a:p>
        </p:txBody>
      </p:sp>
      <p:pic>
        <p:nvPicPr>
          <p:cNvPr id="159750" name="Picture 6" descr="N07_Isa2"/>
          <p:cNvPicPr>
            <a:picLocks noChangeAspect="1" noChangeArrowheads="1"/>
          </p:cNvPicPr>
          <p:nvPr/>
        </p:nvPicPr>
        <p:blipFill>
          <a:blip r:embed="rId8"/>
          <a:srcRect l="21458" t="55000" r="67500" b="22778"/>
          <a:stretch>
            <a:fillRect/>
          </a:stretch>
        </p:blipFill>
        <p:spPr bwMode="auto">
          <a:xfrm>
            <a:off x="1619250" y="3800689"/>
            <a:ext cx="521237" cy="788161"/>
          </a:xfrm>
          <a:prstGeom prst="rect">
            <a:avLst/>
          </a:prstGeom>
          <a:noFill/>
        </p:spPr>
      </p:pic>
      <p:pic>
        <p:nvPicPr>
          <p:cNvPr id="159751" name="Picture 7" descr="N07_Isa2"/>
          <p:cNvPicPr>
            <a:picLocks noChangeAspect="1" noChangeArrowheads="1"/>
          </p:cNvPicPr>
          <p:nvPr/>
        </p:nvPicPr>
        <p:blipFill>
          <a:blip r:embed="rId8"/>
          <a:srcRect l="3751" t="41945" r="86458" b="32777"/>
          <a:stretch>
            <a:fillRect/>
          </a:stretch>
        </p:blipFill>
        <p:spPr bwMode="auto">
          <a:xfrm>
            <a:off x="630239" y="3171667"/>
            <a:ext cx="464490" cy="897453"/>
          </a:xfrm>
          <a:prstGeom prst="rect">
            <a:avLst/>
          </a:prstGeom>
          <a:noFill/>
        </p:spPr>
      </p:pic>
      <p:pic>
        <p:nvPicPr>
          <p:cNvPr id="159752" name="Picture 8" descr="N07_Isa2"/>
          <p:cNvPicPr>
            <a:picLocks noChangeAspect="1" noChangeArrowheads="1"/>
          </p:cNvPicPr>
          <p:nvPr/>
        </p:nvPicPr>
        <p:blipFill>
          <a:blip r:embed="rId8"/>
          <a:srcRect l="3751" t="41945" r="86458" b="32777"/>
          <a:stretch>
            <a:fillRect/>
          </a:stretch>
        </p:blipFill>
        <p:spPr bwMode="auto">
          <a:xfrm>
            <a:off x="3315422" y="3152617"/>
            <a:ext cx="464490" cy="897453"/>
          </a:xfrm>
          <a:prstGeom prst="rect">
            <a:avLst/>
          </a:prstGeom>
          <a:noFill/>
        </p:spPr>
      </p:pic>
      <p:pic>
        <p:nvPicPr>
          <p:cNvPr id="159753" name="Picture 9" descr="N07_Isa2"/>
          <p:cNvPicPr>
            <a:picLocks noChangeAspect="1" noChangeArrowheads="1"/>
          </p:cNvPicPr>
          <p:nvPr/>
        </p:nvPicPr>
        <p:blipFill>
          <a:blip r:embed="rId8"/>
          <a:srcRect l="21458" t="55000" r="67500" b="22778"/>
          <a:stretch>
            <a:fillRect/>
          </a:stretch>
        </p:blipFill>
        <p:spPr bwMode="auto">
          <a:xfrm>
            <a:off x="5202243" y="3874684"/>
            <a:ext cx="521237" cy="788161"/>
          </a:xfrm>
          <a:prstGeom prst="rect">
            <a:avLst/>
          </a:prstGeom>
          <a:noFill/>
        </p:spPr>
      </p:pic>
      <p:pic>
        <p:nvPicPr>
          <p:cNvPr id="159754" name="Picture 10" descr="N07_Isa2"/>
          <p:cNvPicPr>
            <a:picLocks noChangeAspect="1" noChangeArrowheads="1"/>
          </p:cNvPicPr>
          <p:nvPr/>
        </p:nvPicPr>
        <p:blipFill>
          <a:blip r:embed="rId8"/>
          <a:srcRect l="3751" t="41945" r="86458" b="32777"/>
          <a:stretch>
            <a:fillRect/>
          </a:stretch>
        </p:blipFill>
        <p:spPr bwMode="auto">
          <a:xfrm>
            <a:off x="6732589" y="3166904"/>
            <a:ext cx="464490" cy="897453"/>
          </a:xfrm>
          <a:prstGeom prst="rect">
            <a:avLst/>
          </a:prstGeom>
          <a:noFill/>
        </p:spPr>
      </p:pic>
      <p:sp>
        <p:nvSpPr>
          <p:cNvPr id="159756" name="Text Box 12"/>
          <p:cNvSpPr txBox="1">
            <a:spLocks noChangeArrowheads="1"/>
          </p:cNvSpPr>
          <p:nvPr/>
        </p:nvSpPr>
        <p:spPr bwMode="auto">
          <a:xfrm>
            <a:off x="1563688" y="3717032"/>
            <a:ext cx="10080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pt-BR" dirty="0" smtClean="0">
                <a:solidFill>
                  <a:schemeClr val="bg1"/>
                </a:solidFill>
                <a:latin typeface="Gill Sans Ultra Bold" pitchFamily="34" charset="0"/>
              </a:rPr>
              <a:t>2012</a:t>
            </a:r>
            <a:endParaRPr lang="pt-BR" dirty="0">
              <a:solidFill>
                <a:schemeClr val="bg1"/>
              </a:solidFill>
              <a:latin typeface="Gill Sans Ultra Bold" pitchFamily="34" charset="0"/>
            </a:endParaRPr>
          </a:p>
        </p:txBody>
      </p:sp>
      <p:sp>
        <p:nvSpPr>
          <p:cNvPr id="159757" name="Text Box 13"/>
          <p:cNvSpPr txBox="1">
            <a:spLocks noChangeArrowheads="1"/>
          </p:cNvSpPr>
          <p:nvPr/>
        </p:nvSpPr>
        <p:spPr bwMode="auto">
          <a:xfrm>
            <a:off x="4934917" y="3717032"/>
            <a:ext cx="1008063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pt-BR" dirty="0" smtClean="0">
                <a:solidFill>
                  <a:schemeClr val="bg1"/>
                </a:solidFill>
                <a:latin typeface="Gill Sans Ultra Bold" pitchFamily="34" charset="0"/>
              </a:rPr>
              <a:t>2014</a:t>
            </a:r>
            <a:endParaRPr lang="pt-BR" dirty="0">
              <a:solidFill>
                <a:schemeClr val="bg1"/>
              </a:solidFill>
              <a:latin typeface="Gill Sans Ultra Bold" pitchFamily="34" charset="0"/>
            </a:endParaRPr>
          </a:p>
        </p:txBody>
      </p:sp>
      <p:sp>
        <p:nvSpPr>
          <p:cNvPr id="159758" name="Text Box 14"/>
          <p:cNvSpPr txBox="1">
            <a:spLocks noChangeArrowheads="1"/>
          </p:cNvSpPr>
          <p:nvPr/>
        </p:nvSpPr>
        <p:spPr bwMode="auto">
          <a:xfrm>
            <a:off x="7092330" y="3717032"/>
            <a:ext cx="10080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pt-BR" dirty="0" smtClean="0">
                <a:solidFill>
                  <a:schemeClr val="bg1"/>
                </a:solidFill>
                <a:latin typeface="Gill Sans Ultra Bold" pitchFamily="34" charset="0"/>
              </a:rPr>
              <a:t>2015</a:t>
            </a:r>
            <a:endParaRPr lang="pt-BR" dirty="0">
              <a:solidFill>
                <a:schemeClr val="bg1"/>
              </a:solidFill>
              <a:latin typeface="Gill Sans Ultra Bold" pitchFamily="34" charset="0"/>
            </a:endParaRPr>
          </a:p>
        </p:txBody>
      </p:sp>
      <p:sp>
        <p:nvSpPr>
          <p:cNvPr id="159760" name="Text Box 16"/>
          <p:cNvSpPr txBox="1">
            <a:spLocks noChangeArrowheads="1"/>
          </p:cNvSpPr>
          <p:nvPr/>
        </p:nvSpPr>
        <p:spPr bwMode="auto">
          <a:xfrm>
            <a:off x="563563" y="3717032"/>
            <a:ext cx="10080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pt-BR" dirty="0" smtClean="0">
                <a:solidFill>
                  <a:schemeClr val="bg1"/>
                </a:solidFill>
                <a:latin typeface="Gill Sans Ultra Bold" pitchFamily="34" charset="0"/>
              </a:rPr>
              <a:t>2011</a:t>
            </a:r>
            <a:endParaRPr lang="pt-BR" dirty="0">
              <a:solidFill>
                <a:schemeClr val="bg1"/>
              </a:solidFill>
              <a:latin typeface="Gill Sans Ultra Bold" pitchFamily="34" charset="0"/>
            </a:endParaRPr>
          </a:p>
        </p:txBody>
      </p:sp>
      <p:sp>
        <p:nvSpPr>
          <p:cNvPr id="159761" name="Text Box 17"/>
          <p:cNvSpPr txBox="1">
            <a:spLocks noChangeArrowheads="1"/>
          </p:cNvSpPr>
          <p:nvPr/>
        </p:nvSpPr>
        <p:spPr bwMode="auto">
          <a:xfrm>
            <a:off x="3131889" y="3717032"/>
            <a:ext cx="1008063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pt-BR" dirty="0" smtClean="0">
                <a:solidFill>
                  <a:schemeClr val="bg1"/>
                </a:solidFill>
                <a:latin typeface="Gill Sans Ultra Bold" pitchFamily="34" charset="0"/>
              </a:rPr>
              <a:t>2013</a:t>
            </a:r>
            <a:endParaRPr lang="pt-BR" dirty="0">
              <a:solidFill>
                <a:schemeClr val="bg1"/>
              </a:solidFill>
              <a:latin typeface="Gill Sans Ultra Bold" pitchFamily="34" charset="0"/>
            </a:endParaRPr>
          </a:p>
        </p:txBody>
      </p:sp>
      <p:sp>
        <p:nvSpPr>
          <p:cNvPr id="45" name="CaixaDeTexto 1"/>
          <p:cNvSpPr txBox="1"/>
          <p:nvPr/>
        </p:nvSpPr>
        <p:spPr>
          <a:xfrm rot="-2700000">
            <a:off x="3293628" y="2322535"/>
            <a:ext cx="233795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05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.....................................</a:t>
            </a:r>
          </a:p>
          <a:p>
            <a:r>
              <a:rPr lang="pt-BR" sz="105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.......................................</a:t>
            </a:r>
            <a:endParaRPr lang="pt-BR" sz="105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6" name="CaixaDeTexto 1"/>
          <p:cNvSpPr txBox="1"/>
          <p:nvPr/>
        </p:nvSpPr>
        <p:spPr>
          <a:xfrm rot="-2700000">
            <a:off x="6752780" y="2319767"/>
            <a:ext cx="233795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05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.....................................</a:t>
            </a:r>
          </a:p>
          <a:p>
            <a:r>
              <a:rPr lang="pt-BR" sz="105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.......................................</a:t>
            </a:r>
            <a:endParaRPr lang="pt-BR" sz="105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7" name="CaixaDeTexto 11"/>
          <p:cNvSpPr txBox="1"/>
          <p:nvPr/>
        </p:nvSpPr>
        <p:spPr>
          <a:xfrm rot="2700000">
            <a:off x="5250593" y="5172865"/>
            <a:ext cx="266046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05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...........................</a:t>
            </a:r>
          </a:p>
          <a:p>
            <a:r>
              <a:rPr lang="pt-BR" sz="105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............................</a:t>
            </a:r>
          </a:p>
        </p:txBody>
      </p:sp>
      <p:sp>
        <p:nvSpPr>
          <p:cNvPr id="48" name="Texto explicativo retangular com cantos arredondados 47"/>
          <p:cNvSpPr/>
          <p:nvPr/>
        </p:nvSpPr>
        <p:spPr>
          <a:xfrm>
            <a:off x="6889536" y="512605"/>
            <a:ext cx="2110489" cy="1253618"/>
          </a:xfrm>
          <a:prstGeom prst="wedgeRoundRectCallout">
            <a:avLst>
              <a:gd name="adj1" fmla="val -127013"/>
              <a:gd name="adj2" fmla="val 120031"/>
              <a:gd name="adj3" fmla="val 16667"/>
            </a:avLst>
          </a:prstGeom>
          <a:solidFill>
            <a:srgbClr val="FFFF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 smtClean="0">
                <a:solidFill>
                  <a:schemeClr val="tx1"/>
                </a:solidFill>
              </a:rPr>
              <a:t>Inclua as principais realizações da sua TI</a:t>
            </a:r>
            <a:endParaRPr lang="pt-B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9609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-36512" y="1412776"/>
            <a:ext cx="9180512" cy="3294906"/>
          </a:xfrm>
          <a:prstGeom prst="rect">
            <a:avLst/>
          </a:prstGeom>
          <a:noFill/>
        </p:spPr>
      </p:pic>
      <p:pic>
        <p:nvPicPr>
          <p:cNvPr id="34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-36512" y="4149080"/>
            <a:ext cx="9180512" cy="3168352"/>
          </a:xfrm>
          <a:prstGeom prst="rect">
            <a:avLst/>
          </a:prstGeom>
          <a:noFill/>
        </p:spPr>
      </p:pic>
      <p:sp>
        <p:nvSpPr>
          <p:cNvPr id="9" name="Retângulo 6"/>
          <p:cNvSpPr>
            <a:spLocks noChangeArrowheads="1"/>
          </p:cNvSpPr>
          <p:nvPr/>
        </p:nvSpPr>
        <p:spPr bwMode="auto">
          <a:xfrm>
            <a:off x="277812" y="1754188"/>
            <a:ext cx="2503488" cy="739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en-US" sz="2800" dirty="0" err="1">
                <a:solidFill>
                  <a:schemeClr val="bg1"/>
                </a:solidFill>
                <a:latin typeface="Gill Sans" pitchFamily="34" charset="0"/>
                <a:cs typeface="Times New Roman" pitchFamily="18" charset="0"/>
                <a:sym typeface="Gill Sans Std"/>
              </a:rPr>
              <a:t>Tendências</a:t>
            </a:r>
            <a:r>
              <a:rPr lang="en-US" sz="2800" dirty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  <a:sym typeface="Gill Sans Std"/>
              </a:rPr>
              <a:t> </a:t>
            </a:r>
            <a:r>
              <a:rPr lang="en-US" sz="2800" dirty="0" err="1">
                <a:solidFill>
                  <a:schemeClr val="bg1"/>
                </a:solidFill>
                <a:latin typeface="Gill Sans" pitchFamily="34" charset="0"/>
                <a:cs typeface="Times New Roman" pitchFamily="18" charset="0"/>
                <a:sym typeface="Gill Sans Std"/>
              </a:rPr>
              <a:t>Tecnológicas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sp>
        <p:nvSpPr>
          <p:cNvPr id="10" name="Retângulo 6"/>
          <p:cNvSpPr>
            <a:spLocks noChangeArrowheads="1"/>
          </p:cNvSpPr>
          <p:nvPr/>
        </p:nvSpPr>
        <p:spPr bwMode="auto">
          <a:xfrm>
            <a:off x="3390900" y="1911350"/>
            <a:ext cx="2695575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Realizações</a:t>
            </a:r>
          </a:p>
        </p:txBody>
      </p:sp>
      <p:sp>
        <p:nvSpPr>
          <p:cNvPr id="11" name="Retângulo 6"/>
          <p:cNvSpPr>
            <a:spLocks noChangeArrowheads="1"/>
          </p:cNvSpPr>
          <p:nvPr/>
        </p:nvSpPr>
        <p:spPr bwMode="auto">
          <a:xfrm>
            <a:off x="6443663" y="1813361"/>
            <a:ext cx="252095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 smtClean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Nossa</a:t>
            </a:r>
          </a:p>
          <a:p>
            <a:pPr algn="ctr" eaLnBrk="0" hangingPunct="0">
              <a:lnSpc>
                <a:spcPct val="75000"/>
              </a:lnSpc>
            </a:pPr>
            <a:r>
              <a:rPr lang="pt-BR" sz="2800" dirty="0" smtClean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Maturidade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sp>
        <p:nvSpPr>
          <p:cNvPr id="13" name="Retângulo 6"/>
          <p:cNvSpPr>
            <a:spLocks noChangeArrowheads="1"/>
          </p:cNvSpPr>
          <p:nvPr/>
        </p:nvSpPr>
        <p:spPr bwMode="auto">
          <a:xfrm>
            <a:off x="3224213" y="4707682"/>
            <a:ext cx="2695575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 err="1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Roadmap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sp>
        <p:nvSpPr>
          <p:cNvPr id="14" name="Retângulo 6"/>
          <p:cNvSpPr>
            <a:spLocks noChangeArrowheads="1"/>
          </p:cNvSpPr>
          <p:nvPr/>
        </p:nvSpPr>
        <p:spPr bwMode="auto">
          <a:xfrm>
            <a:off x="6362700" y="4740731"/>
            <a:ext cx="2660650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 smtClean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Investimentos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cxnSp>
        <p:nvCxnSpPr>
          <p:cNvPr id="24" name="Conector reto 23"/>
          <p:cNvCxnSpPr/>
          <p:nvPr/>
        </p:nvCxnSpPr>
        <p:spPr>
          <a:xfrm>
            <a:off x="2949575" y="1878013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to 24"/>
          <p:cNvCxnSpPr/>
          <p:nvPr/>
        </p:nvCxnSpPr>
        <p:spPr>
          <a:xfrm>
            <a:off x="6215063" y="1878013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to 25"/>
          <p:cNvCxnSpPr/>
          <p:nvPr/>
        </p:nvCxnSpPr>
        <p:spPr>
          <a:xfrm>
            <a:off x="2947988" y="4615607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to 26"/>
          <p:cNvCxnSpPr/>
          <p:nvPr/>
        </p:nvCxnSpPr>
        <p:spPr>
          <a:xfrm>
            <a:off x="6200775" y="4615607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Diagrama 22"/>
          <p:cNvGraphicFramePr/>
          <p:nvPr/>
        </p:nvGraphicFramePr>
        <p:xfrm>
          <a:off x="155848" y="188640"/>
          <a:ext cx="1391816" cy="1368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0" name="Retângulo 6"/>
          <p:cNvSpPr>
            <a:spLocks noChangeArrowheads="1"/>
          </p:cNvSpPr>
          <p:nvPr/>
        </p:nvSpPr>
        <p:spPr bwMode="auto">
          <a:xfrm>
            <a:off x="117475" y="4661644"/>
            <a:ext cx="2695575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Uma Nova TI</a:t>
            </a:r>
          </a:p>
        </p:txBody>
      </p:sp>
      <p:sp>
        <p:nvSpPr>
          <p:cNvPr id="31" name="Retângulo 3"/>
          <p:cNvSpPr>
            <a:spLocks noChangeArrowheads="1"/>
          </p:cNvSpPr>
          <p:nvPr/>
        </p:nvSpPr>
        <p:spPr bwMode="auto">
          <a:xfrm>
            <a:off x="3092450" y="180187"/>
            <a:ext cx="3108543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/>
            <a:r>
              <a:rPr lang="pt-BR" sz="5400" dirty="0">
                <a:solidFill>
                  <a:schemeClr val="accent1">
                    <a:lumMod val="50000"/>
                  </a:schemeClr>
                </a:solidFill>
                <a:latin typeface="Gill Sans Light" pitchFamily="34" charset="0"/>
                <a:cs typeface="Times New Roman" pitchFamily="18" charset="0"/>
              </a:rPr>
              <a:t>AGENDA</a:t>
            </a:r>
          </a:p>
        </p:txBody>
      </p:sp>
      <p:pic>
        <p:nvPicPr>
          <p:cNvPr id="16" name="Imagem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6226" y="2535598"/>
            <a:ext cx="1720970" cy="1541474"/>
          </a:xfrm>
          <a:prstGeom prst="rect">
            <a:avLst/>
          </a:prstGeom>
          <a:ln>
            <a:noFill/>
          </a:ln>
        </p:spPr>
      </p:pic>
      <p:graphicFrame>
        <p:nvGraphicFramePr>
          <p:cNvPr id="40" name="Diagrama 39"/>
          <p:cNvGraphicFramePr/>
          <p:nvPr/>
        </p:nvGraphicFramePr>
        <p:xfrm>
          <a:off x="3950812" y="2492895"/>
          <a:ext cx="1773316" cy="15511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41" name="Diagrama 40"/>
          <p:cNvGraphicFramePr/>
          <p:nvPr/>
        </p:nvGraphicFramePr>
        <p:xfrm>
          <a:off x="6804248" y="2540769"/>
          <a:ext cx="2088357" cy="15363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graphicFrame>
        <p:nvGraphicFramePr>
          <p:cNvPr id="42" name="Diagrama 41"/>
          <p:cNvGraphicFramePr/>
          <p:nvPr/>
        </p:nvGraphicFramePr>
        <p:xfrm>
          <a:off x="666227" y="5124143"/>
          <a:ext cx="1720970" cy="1560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  <p:graphicFrame>
        <p:nvGraphicFramePr>
          <p:cNvPr id="43" name="Diagrama 42"/>
          <p:cNvGraphicFramePr/>
          <p:nvPr/>
        </p:nvGraphicFramePr>
        <p:xfrm>
          <a:off x="3707904" y="5136700"/>
          <a:ext cx="1759129" cy="14674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4" r:lo="rId25" r:qs="rId26" r:cs="rId27"/>
          </a:graphicData>
        </a:graphic>
      </p:graphicFrame>
      <p:graphicFrame>
        <p:nvGraphicFramePr>
          <p:cNvPr id="44" name="Diagrama 43"/>
          <p:cNvGraphicFramePr/>
          <p:nvPr/>
        </p:nvGraphicFramePr>
        <p:xfrm>
          <a:off x="6804247" y="5162457"/>
          <a:ext cx="1915571" cy="15121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9" r:lo="rId30" r:qs="rId31" r:cs="rId32"/>
          </a:graphicData>
        </a:graphic>
      </p:graphicFrame>
      <p:sp>
        <p:nvSpPr>
          <p:cNvPr id="22" name="Seta para baixo 21"/>
          <p:cNvSpPr/>
          <p:nvPr/>
        </p:nvSpPr>
        <p:spPr>
          <a:xfrm rot="3556369">
            <a:off x="8094880" y="996209"/>
            <a:ext cx="792088" cy="1048657"/>
          </a:xfrm>
          <a:prstGeom prst="downArrow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54037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3" grpId="0"/>
      <p:bldP spid="14" grpId="0"/>
      <p:bldP spid="30" grpId="0"/>
      <p:bldP spid="2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0" y="260648"/>
            <a:ext cx="8077200" cy="1600200"/>
          </a:xfrm>
          <a:prstGeom prst="rect">
            <a:avLst/>
          </a:prstGeom>
          <a:noFill/>
        </p:spPr>
      </p:pic>
      <p:sp>
        <p:nvSpPr>
          <p:cNvPr id="7" name="Retângulo 6"/>
          <p:cNvSpPr/>
          <p:nvPr/>
        </p:nvSpPr>
        <p:spPr>
          <a:xfrm>
            <a:off x="1" y="1844824"/>
            <a:ext cx="9144000" cy="3888432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graphicFrame>
        <p:nvGraphicFramePr>
          <p:cNvPr id="9" name="Diagrama 8"/>
          <p:cNvGraphicFramePr/>
          <p:nvPr>
            <p:extLst>
              <p:ext uri="{D42A27DB-BD31-4B8C-83A1-F6EECF244321}">
                <p14:modId xmlns:p14="http://schemas.microsoft.com/office/powerpoint/2010/main" val="622414994"/>
              </p:ext>
            </p:extLst>
          </p:nvPr>
        </p:nvGraphicFramePr>
        <p:xfrm>
          <a:off x="179512" y="5805264"/>
          <a:ext cx="1391816" cy="1368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CaixaDeTexto 9"/>
          <p:cNvSpPr txBox="1"/>
          <p:nvPr/>
        </p:nvSpPr>
        <p:spPr>
          <a:xfrm>
            <a:off x="8022424" y="6597352"/>
            <a:ext cx="10534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100" dirty="0">
                <a:solidFill>
                  <a:srgbClr val="666666"/>
                </a:solidFill>
                <a:latin typeface="Gill Sans" pitchFamily="34" charset="0"/>
              </a:rPr>
              <a:t>Fonte: </a:t>
            </a:r>
            <a:r>
              <a:rPr lang="pt-BR" sz="1100" dirty="0" smtClean="0">
                <a:solidFill>
                  <a:srgbClr val="666666"/>
                </a:solidFill>
                <a:latin typeface="Gill Sans" pitchFamily="34" charset="0"/>
              </a:rPr>
              <a:t>COBIT</a:t>
            </a:r>
            <a:endParaRPr lang="pt-BR" sz="1100" dirty="0">
              <a:solidFill>
                <a:srgbClr val="666666"/>
              </a:solidFill>
              <a:latin typeface="Gill Sans" pitchFamily="34" charset="0"/>
            </a:endParaRPr>
          </a:p>
        </p:txBody>
      </p:sp>
      <p:sp>
        <p:nvSpPr>
          <p:cNvPr id="12" name="Retângulo 11"/>
          <p:cNvSpPr>
            <a:spLocks noChangeArrowheads="1"/>
          </p:cNvSpPr>
          <p:nvPr/>
        </p:nvSpPr>
        <p:spPr bwMode="auto">
          <a:xfrm>
            <a:off x="1162247" y="530650"/>
            <a:ext cx="6650113" cy="89255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t"/>
          <a:lstStyle/>
          <a:p>
            <a:r>
              <a:rPr lang="pt-BR" sz="2600" dirty="0" smtClean="0">
                <a:solidFill>
                  <a:schemeClr val="bg1"/>
                </a:solidFill>
                <a:latin typeface="Gill Sans Light" pitchFamily="34" charset="0"/>
              </a:rPr>
              <a:t>Nosso Nível de Maturidade e </a:t>
            </a:r>
          </a:p>
          <a:p>
            <a:r>
              <a:rPr lang="pt-BR" sz="2600" dirty="0" smtClean="0">
                <a:solidFill>
                  <a:schemeClr val="bg1"/>
                </a:solidFill>
                <a:latin typeface="Gill Sans Light" pitchFamily="34" charset="0"/>
              </a:rPr>
              <a:t>Onde Queremos </a:t>
            </a:r>
            <a:r>
              <a:rPr lang="pt-BR" sz="2600" dirty="0" smtClean="0">
                <a:solidFill>
                  <a:schemeClr val="bg1"/>
                </a:solidFill>
                <a:latin typeface="Gill Sans Light" pitchFamily="34" charset="0"/>
              </a:rPr>
              <a:t>Chegar </a:t>
            </a:r>
            <a:endParaRPr lang="pt-BR" sz="2600" dirty="0">
              <a:solidFill>
                <a:schemeClr val="bg1"/>
              </a:solidFill>
              <a:latin typeface="Gill Sans Light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8"/>
          <a:srcRect l="8854" t="39374" r="59046" b="14361"/>
          <a:stretch/>
        </p:blipFill>
        <p:spPr>
          <a:xfrm>
            <a:off x="93309" y="2107098"/>
            <a:ext cx="4176464" cy="3384376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8"/>
          <a:srcRect l="52214" t="39172" r="7939" b="15547"/>
          <a:stretch/>
        </p:blipFill>
        <p:spPr>
          <a:xfrm>
            <a:off x="4355976" y="2288775"/>
            <a:ext cx="4736322" cy="3025983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sp>
        <p:nvSpPr>
          <p:cNvPr id="5" name="CaixaDeTexto 4"/>
          <p:cNvSpPr txBox="1"/>
          <p:nvPr/>
        </p:nvSpPr>
        <p:spPr>
          <a:xfrm>
            <a:off x="2105974" y="5919401"/>
            <a:ext cx="64807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>
                <a:solidFill>
                  <a:srgbClr val="FF0000"/>
                </a:solidFill>
              </a:rPr>
              <a:t>Se ainda não tem a planilha de </a:t>
            </a:r>
            <a:r>
              <a:rPr lang="pt-BR" b="1" dirty="0" smtClean="0">
                <a:solidFill>
                  <a:srgbClr val="FF0000"/>
                </a:solidFill>
              </a:rPr>
              <a:t>AVALIAÇÃO DE MATURIDADE DE TI</a:t>
            </a:r>
            <a:r>
              <a:rPr lang="pt-BR" dirty="0" smtClean="0">
                <a:solidFill>
                  <a:srgbClr val="FF0000"/>
                </a:solidFill>
              </a:rPr>
              <a:t> – </a:t>
            </a:r>
            <a:r>
              <a:rPr lang="pt-BR" dirty="0" smtClean="0">
                <a:solidFill>
                  <a:srgbClr val="FF0000"/>
                </a:solidFill>
                <a:hlinkClick r:id="rId9"/>
              </a:rPr>
              <a:t>CLIQUE AQUI PARA BAIXA-LA</a:t>
            </a:r>
            <a:endParaRPr lang="pt-BR" dirty="0">
              <a:solidFill>
                <a:srgbClr val="FF0000"/>
              </a:solidFill>
            </a:endParaRPr>
          </a:p>
        </p:txBody>
      </p:sp>
      <p:sp>
        <p:nvSpPr>
          <p:cNvPr id="17" name="Texto explicativo retangular com cantos arredondados 16"/>
          <p:cNvSpPr/>
          <p:nvPr/>
        </p:nvSpPr>
        <p:spPr>
          <a:xfrm>
            <a:off x="6889536" y="512605"/>
            <a:ext cx="3011056" cy="1744550"/>
          </a:xfrm>
          <a:prstGeom prst="wedgeRoundRectCallout">
            <a:avLst>
              <a:gd name="adj1" fmla="val -127013"/>
              <a:gd name="adj2" fmla="val 120031"/>
              <a:gd name="adj3" fmla="val 16667"/>
            </a:avLst>
          </a:prstGeom>
          <a:solidFill>
            <a:srgbClr val="FFFF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 smtClean="0">
                <a:solidFill>
                  <a:schemeClr val="tx1"/>
                </a:solidFill>
              </a:rPr>
              <a:t>Inclua os gráficos da Planilha de </a:t>
            </a:r>
            <a:r>
              <a:rPr lang="pt-BR" b="1" dirty="0" smtClean="0">
                <a:solidFill>
                  <a:srgbClr val="FF0000"/>
                </a:solidFill>
              </a:rPr>
              <a:t>Avaliação Maturidade de TI</a:t>
            </a:r>
            <a:endParaRPr lang="pt-BR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593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0" y="260648"/>
            <a:ext cx="8077200" cy="1600200"/>
          </a:xfrm>
          <a:prstGeom prst="rect">
            <a:avLst/>
          </a:prstGeom>
          <a:noFill/>
        </p:spPr>
      </p:pic>
      <p:sp>
        <p:nvSpPr>
          <p:cNvPr id="28" name="Retângulo 27"/>
          <p:cNvSpPr/>
          <p:nvPr/>
        </p:nvSpPr>
        <p:spPr>
          <a:xfrm>
            <a:off x="1" y="1844824"/>
            <a:ext cx="9144000" cy="3888432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pic>
        <p:nvPicPr>
          <p:cNvPr id="2059" name="Picture 11" descr="\\SOAP-PROD\Historico\Criacao\Clientes\Natura\10781_Evento Estratégia e Tecnologia\PNG\Sx_pipoca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38" t="33201" r="8272" b="6960"/>
          <a:stretch/>
        </p:blipFill>
        <p:spPr bwMode="auto">
          <a:xfrm>
            <a:off x="2390034" y="1497360"/>
            <a:ext cx="5997543" cy="4103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5" name="Picture 7" descr="\\SOAP-PROD\Historico\Criacao\Clientes\Natura\10781_Evento Estratégia e Tecnologia\PNG\Sx_pipoca_3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641" r="65930" b="50494"/>
          <a:stretch/>
        </p:blipFill>
        <p:spPr bwMode="auto">
          <a:xfrm>
            <a:off x="2" y="2076204"/>
            <a:ext cx="3115326" cy="539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7" descr="\\SOAP-PROD\Historico\Criacao\Clientes\Natura\10781_Evento Estratégia e Tecnologia\PNG\Sx_pipoca_3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713" r="61587" b="29938"/>
          <a:stretch/>
        </p:blipFill>
        <p:spPr bwMode="auto">
          <a:xfrm>
            <a:off x="2" y="3247038"/>
            <a:ext cx="3512456" cy="778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\\SOAP-PROD\Historico\Criacao\Clientes\Natura\10781_Evento Estratégia e Tecnologia\PNG\Sx_pipoca_2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20" t="34972" r="18760" b="6960"/>
          <a:stretch/>
        </p:blipFill>
        <p:spPr bwMode="auto">
          <a:xfrm>
            <a:off x="2361006" y="1618868"/>
            <a:ext cx="5067607" cy="3982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tângulo 3"/>
          <p:cNvSpPr>
            <a:spLocks noChangeArrowheads="1"/>
          </p:cNvSpPr>
          <p:nvPr/>
        </p:nvSpPr>
        <p:spPr bwMode="auto">
          <a:xfrm>
            <a:off x="1162247" y="530650"/>
            <a:ext cx="6650113" cy="89255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t"/>
          <a:lstStyle/>
          <a:p>
            <a:r>
              <a:rPr lang="pt-BR" sz="2600" dirty="0" smtClean="0">
                <a:solidFill>
                  <a:schemeClr val="bg1"/>
                </a:solidFill>
                <a:latin typeface="Gill Sans Light" pitchFamily="34" charset="0"/>
              </a:rPr>
              <a:t>Nosso Nível de Maturidade e </a:t>
            </a:r>
          </a:p>
          <a:p>
            <a:r>
              <a:rPr lang="pt-BR" sz="2600" dirty="0" smtClean="0">
                <a:solidFill>
                  <a:schemeClr val="bg1"/>
                </a:solidFill>
                <a:latin typeface="Gill Sans Light" pitchFamily="34" charset="0"/>
              </a:rPr>
              <a:t>Onde Queremos Chegaremos </a:t>
            </a:r>
            <a:endParaRPr lang="pt-BR" sz="2600" dirty="0">
              <a:solidFill>
                <a:schemeClr val="bg1"/>
              </a:solidFill>
              <a:latin typeface="Gill Sans Light" pitchFamily="34" charset="0"/>
            </a:endParaRPr>
          </a:p>
        </p:txBody>
      </p:sp>
      <p:sp>
        <p:nvSpPr>
          <p:cNvPr id="6" name="Retângulo 6"/>
          <p:cNvSpPr>
            <a:spLocks noChangeArrowheads="1"/>
          </p:cNvSpPr>
          <p:nvPr/>
        </p:nvSpPr>
        <p:spPr bwMode="auto">
          <a:xfrm>
            <a:off x="3871480" y="2636912"/>
            <a:ext cx="307678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0" hangingPunct="0"/>
            <a:r>
              <a:rPr lang="pt-BR" sz="1400" b="1" dirty="0" smtClean="0">
                <a:solidFill>
                  <a:srgbClr val="612C51"/>
                </a:solidFill>
                <a:latin typeface="Gill Sans Light" pitchFamily="34" charset="0"/>
                <a:ea typeface="Times New Roman" pitchFamily="18" charset="0"/>
                <a:cs typeface="Calibri" pitchFamily="34" charset="0"/>
              </a:rPr>
              <a:t>Gerenciado</a:t>
            </a:r>
            <a:endParaRPr lang="pt-BR" sz="1400" b="1" dirty="0">
              <a:solidFill>
                <a:srgbClr val="612C51"/>
              </a:solidFill>
              <a:latin typeface="Gill Sans Light" pitchFamily="34" charset="0"/>
              <a:ea typeface="Times New Roman" pitchFamily="18" charset="0"/>
              <a:cs typeface="Calibri" pitchFamily="34" charset="0"/>
            </a:endParaRPr>
          </a:p>
        </p:txBody>
      </p:sp>
      <p:sp>
        <p:nvSpPr>
          <p:cNvPr id="7" name="Retângulo 6"/>
          <p:cNvSpPr>
            <a:spLocks noChangeArrowheads="1"/>
          </p:cNvSpPr>
          <p:nvPr/>
        </p:nvSpPr>
        <p:spPr bwMode="auto">
          <a:xfrm>
            <a:off x="3871481" y="2853517"/>
            <a:ext cx="4913057" cy="2975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0" hangingPunct="0">
              <a:lnSpc>
                <a:spcPts val="1600"/>
              </a:lnSpc>
            </a:pPr>
            <a:r>
              <a:rPr lang="pt-BR" sz="1200" dirty="0" smtClean="0">
                <a:solidFill>
                  <a:srgbClr val="666666"/>
                </a:solidFill>
                <a:latin typeface="Gill Sans Light" pitchFamily="34" charset="0"/>
                <a:ea typeface="Times New Roman" pitchFamily="18" charset="0"/>
                <a:cs typeface="Calibri" pitchFamily="34" charset="0"/>
              </a:rPr>
              <a:t>Processos são medidos e controlados.</a:t>
            </a:r>
            <a:endParaRPr lang="pt-BR" sz="1200" dirty="0">
              <a:solidFill>
                <a:srgbClr val="666666"/>
              </a:solidFill>
              <a:latin typeface="Gill Sans Light" pitchFamily="34" charset="0"/>
              <a:ea typeface="Times New Roman" pitchFamily="18" charset="0"/>
              <a:cs typeface="Calibri" pitchFamily="34" charset="0"/>
            </a:endParaRPr>
          </a:p>
        </p:txBody>
      </p:sp>
      <p:sp>
        <p:nvSpPr>
          <p:cNvPr id="8" name="Retângulo 6"/>
          <p:cNvSpPr>
            <a:spLocks noChangeArrowheads="1"/>
          </p:cNvSpPr>
          <p:nvPr/>
        </p:nvSpPr>
        <p:spPr bwMode="auto">
          <a:xfrm>
            <a:off x="4432609" y="3177842"/>
            <a:ext cx="161178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0" hangingPunct="0"/>
            <a:r>
              <a:rPr lang="pt-BR" sz="1400" b="1" dirty="0" smtClean="0">
                <a:solidFill>
                  <a:srgbClr val="612C51"/>
                </a:solidFill>
                <a:latin typeface="Gill Sans Light" pitchFamily="34" charset="0"/>
                <a:ea typeface="Times New Roman" pitchFamily="18" charset="0"/>
                <a:cs typeface="Calibri" pitchFamily="34" charset="0"/>
              </a:rPr>
              <a:t>Definido</a:t>
            </a:r>
            <a:endParaRPr lang="pt-BR" sz="1400" b="1" dirty="0">
              <a:solidFill>
                <a:srgbClr val="612C51"/>
              </a:solidFill>
              <a:latin typeface="Gill Sans Light" pitchFamily="34" charset="0"/>
              <a:ea typeface="Times New Roman" pitchFamily="18" charset="0"/>
              <a:cs typeface="Calibri" pitchFamily="34" charset="0"/>
            </a:endParaRPr>
          </a:p>
        </p:txBody>
      </p:sp>
      <p:sp>
        <p:nvSpPr>
          <p:cNvPr id="9" name="Retângulo 8"/>
          <p:cNvSpPr>
            <a:spLocks noChangeArrowheads="1"/>
          </p:cNvSpPr>
          <p:nvPr/>
        </p:nvSpPr>
        <p:spPr bwMode="auto">
          <a:xfrm>
            <a:off x="4432609" y="3358346"/>
            <a:ext cx="4459871" cy="502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0" hangingPunct="0">
              <a:lnSpc>
                <a:spcPts val="1600"/>
              </a:lnSpc>
            </a:pPr>
            <a:r>
              <a:rPr lang="pt-BR" sz="1200" dirty="0" smtClean="0">
                <a:solidFill>
                  <a:srgbClr val="666666"/>
                </a:solidFill>
                <a:latin typeface="Gill Sans Light" pitchFamily="34" charset="0"/>
                <a:ea typeface="Times New Roman" pitchFamily="18" charset="0"/>
                <a:cs typeface="Calibri" pitchFamily="34" charset="0"/>
              </a:rPr>
              <a:t>Processos são caracterizados para organização e são </a:t>
            </a:r>
            <a:r>
              <a:rPr lang="pt-BR" sz="1200" dirty="0" err="1" smtClean="0">
                <a:solidFill>
                  <a:srgbClr val="666666"/>
                </a:solidFill>
                <a:latin typeface="Gill Sans Light" pitchFamily="34" charset="0"/>
                <a:ea typeface="Times New Roman" pitchFamily="18" charset="0"/>
                <a:cs typeface="Calibri" pitchFamily="34" charset="0"/>
              </a:rPr>
              <a:t>pró-ativos</a:t>
            </a:r>
            <a:r>
              <a:rPr lang="pt-BR" sz="1200" dirty="0" smtClean="0">
                <a:solidFill>
                  <a:srgbClr val="666666"/>
                </a:solidFill>
                <a:latin typeface="Gill Sans Light" pitchFamily="34" charset="0"/>
                <a:ea typeface="Times New Roman" pitchFamily="18" charset="0"/>
                <a:cs typeface="Calibri" pitchFamily="34" charset="0"/>
              </a:rPr>
              <a:t>.</a:t>
            </a:r>
            <a:endParaRPr lang="pt-BR" sz="1200" dirty="0">
              <a:solidFill>
                <a:srgbClr val="666666"/>
              </a:solidFill>
              <a:latin typeface="Gill Sans Light" pitchFamily="34" charset="0"/>
              <a:ea typeface="Times New Roman" pitchFamily="18" charset="0"/>
              <a:cs typeface="Calibri" pitchFamily="34" charset="0"/>
            </a:endParaRPr>
          </a:p>
        </p:txBody>
      </p:sp>
      <p:sp>
        <p:nvSpPr>
          <p:cNvPr id="10" name="Retângulo 6"/>
          <p:cNvSpPr>
            <a:spLocks noChangeArrowheads="1"/>
          </p:cNvSpPr>
          <p:nvPr/>
        </p:nvSpPr>
        <p:spPr bwMode="auto">
          <a:xfrm>
            <a:off x="4788024" y="3789040"/>
            <a:ext cx="161178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0" hangingPunct="0"/>
            <a:r>
              <a:rPr lang="pt-BR" sz="1400" b="1" dirty="0" smtClean="0">
                <a:solidFill>
                  <a:srgbClr val="612C51"/>
                </a:solidFill>
                <a:latin typeface="Gill Sans Light" pitchFamily="34" charset="0"/>
                <a:ea typeface="Times New Roman" pitchFamily="18" charset="0"/>
                <a:cs typeface="Calibri" pitchFamily="34" charset="0"/>
              </a:rPr>
              <a:t>Repetido</a:t>
            </a:r>
            <a:endParaRPr lang="pt-BR" sz="1400" b="1" dirty="0">
              <a:solidFill>
                <a:srgbClr val="612C51"/>
              </a:solidFill>
              <a:latin typeface="Gill Sans Light" pitchFamily="34" charset="0"/>
              <a:ea typeface="Times New Roman" pitchFamily="18" charset="0"/>
              <a:cs typeface="Calibri" pitchFamily="34" charset="0"/>
            </a:endParaRPr>
          </a:p>
        </p:txBody>
      </p:sp>
      <p:sp>
        <p:nvSpPr>
          <p:cNvPr id="11" name="Retângulo 10"/>
          <p:cNvSpPr>
            <a:spLocks noChangeArrowheads="1"/>
          </p:cNvSpPr>
          <p:nvPr/>
        </p:nvSpPr>
        <p:spPr bwMode="auto">
          <a:xfrm>
            <a:off x="4788024" y="4005064"/>
            <a:ext cx="4348088" cy="502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0" hangingPunct="0">
              <a:lnSpc>
                <a:spcPts val="1600"/>
              </a:lnSpc>
            </a:pPr>
            <a:r>
              <a:rPr lang="pt-BR" sz="1200" dirty="0" smtClean="0">
                <a:solidFill>
                  <a:srgbClr val="666666"/>
                </a:solidFill>
                <a:latin typeface="Gill Sans Light" pitchFamily="34" charset="0"/>
                <a:ea typeface="Times New Roman" pitchFamily="18" charset="0"/>
                <a:cs typeface="Calibri" pitchFamily="34" charset="0"/>
              </a:rPr>
              <a:t>Processos são caracterizados por projetos e ações frequentemente reativas.</a:t>
            </a:r>
            <a:endParaRPr lang="pt-BR" sz="1200" dirty="0">
              <a:solidFill>
                <a:srgbClr val="666666"/>
              </a:solidFill>
              <a:latin typeface="Gill Sans Light" pitchFamily="34" charset="0"/>
              <a:ea typeface="Times New Roman" pitchFamily="18" charset="0"/>
              <a:cs typeface="Calibri" pitchFamily="34" charset="0"/>
            </a:endParaRPr>
          </a:p>
        </p:txBody>
      </p:sp>
      <p:sp>
        <p:nvSpPr>
          <p:cNvPr id="12" name="Retângulo 6"/>
          <p:cNvSpPr>
            <a:spLocks noChangeArrowheads="1"/>
          </p:cNvSpPr>
          <p:nvPr/>
        </p:nvSpPr>
        <p:spPr bwMode="auto">
          <a:xfrm>
            <a:off x="5336480" y="4437112"/>
            <a:ext cx="161178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0" hangingPunct="0"/>
            <a:r>
              <a:rPr lang="pt-BR" sz="1400" b="1" dirty="0" smtClean="0">
                <a:solidFill>
                  <a:srgbClr val="612C51"/>
                </a:solidFill>
                <a:latin typeface="Gill Sans Light" pitchFamily="34" charset="0"/>
                <a:ea typeface="Times New Roman" pitchFamily="18" charset="0"/>
                <a:cs typeface="Calibri" pitchFamily="34" charset="0"/>
              </a:rPr>
              <a:t>Inicial</a:t>
            </a:r>
            <a:endParaRPr lang="pt-BR" sz="1400" b="1" dirty="0">
              <a:solidFill>
                <a:srgbClr val="612C51"/>
              </a:solidFill>
              <a:latin typeface="Gill Sans Light" pitchFamily="34" charset="0"/>
              <a:ea typeface="Times New Roman" pitchFamily="18" charset="0"/>
              <a:cs typeface="Calibri" pitchFamily="34" charset="0"/>
            </a:endParaRPr>
          </a:p>
        </p:txBody>
      </p:sp>
      <p:sp>
        <p:nvSpPr>
          <p:cNvPr id="13" name="Retângulo 12"/>
          <p:cNvSpPr>
            <a:spLocks noChangeArrowheads="1"/>
          </p:cNvSpPr>
          <p:nvPr/>
        </p:nvSpPr>
        <p:spPr bwMode="auto">
          <a:xfrm>
            <a:off x="5336480" y="4601843"/>
            <a:ext cx="4348088" cy="502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0" hangingPunct="0">
              <a:lnSpc>
                <a:spcPts val="1600"/>
              </a:lnSpc>
            </a:pPr>
            <a:r>
              <a:rPr lang="pt-BR" sz="1200" dirty="0" smtClean="0">
                <a:solidFill>
                  <a:srgbClr val="666666"/>
                </a:solidFill>
                <a:latin typeface="Gill Sans Light" pitchFamily="34" charset="0"/>
                <a:ea typeface="Times New Roman" pitchFamily="18" charset="0"/>
                <a:cs typeface="Calibri" pitchFamily="34" charset="0"/>
              </a:rPr>
              <a:t>Processos são imprevisíveis, poucos controlados </a:t>
            </a:r>
          </a:p>
          <a:p>
            <a:pPr eaLnBrk="0" hangingPunct="0">
              <a:lnSpc>
                <a:spcPts val="1600"/>
              </a:lnSpc>
            </a:pPr>
            <a:r>
              <a:rPr lang="pt-BR" sz="1200" dirty="0" smtClean="0">
                <a:solidFill>
                  <a:srgbClr val="666666"/>
                </a:solidFill>
                <a:latin typeface="Gill Sans Light" pitchFamily="34" charset="0"/>
                <a:ea typeface="Times New Roman" pitchFamily="18" charset="0"/>
                <a:cs typeface="Calibri" pitchFamily="34" charset="0"/>
              </a:rPr>
              <a:t>e reativos.</a:t>
            </a:r>
            <a:endParaRPr lang="pt-BR" sz="1200" dirty="0">
              <a:solidFill>
                <a:srgbClr val="666666"/>
              </a:solidFill>
              <a:latin typeface="Gill Sans Light" pitchFamily="34" charset="0"/>
              <a:ea typeface="Times New Roman" pitchFamily="18" charset="0"/>
              <a:cs typeface="Calibri" pitchFamily="34" charset="0"/>
            </a:endParaRPr>
          </a:p>
        </p:txBody>
      </p:sp>
      <p:sp>
        <p:nvSpPr>
          <p:cNvPr id="19" name="Text Box 61"/>
          <p:cNvSpPr txBox="1">
            <a:spLocks noChangeArrowheads="1"/>
          </p:cNvSpPr>
          <p:nvPr/>
        </p:nvSpPr>
        <p:spPr bwMode="auto">
          <a:xfrm>
            <a:off x="2252818" y="4531434"/>
            <a:ext cx="27443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 dirty="0" smtClean="0">
                <a:solidFill>
                  <a:srgbClr val="666666"/>
                </a:solidFill>
                <a:latin typeface="Gill Sans Light" pitchFamily="34" charset="0"/>
              </a:rPr>
              <a:t>1</a:t>
            </a:r>
            <a:endParaRPr lang="en-US" sz="1400" b="1" dirty="0">
              <a:solidFill>
                <a:srgbClr val="666666"/>
              </a:solidFill>
              <a:latin typeface="Gill Sans Light" pitchFamily="34" charset="0"/>
            </a:endParaRPr>
          </a:p>
        </p:txBody>
      </p:sp>
      <p:sp>
        <p:nvSpPr>
          <p:cNvPr id="20" name="Text Box 63"/>
          <p:cNvSpPr txBox="1">
            <a:spLocks noChangeArrowheads="1"/>
          </p:cNvSpPr>
          <p:nvPr/>
        </p:nvSpPr>
        <p:spPr bwMode="auto">
          <a:xfrm>
            <a:off x="2251231" y="3861048"/>
            <a:ext cx="27443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 dirty="0" smtClean="0">
                <a:solidFill>
                  <a:srgbClr val="666666"/>
                </a:solidFill>
                <a:latin typeface="Gill Sans Light" pitchFamily="34" charset="0"/>
              </a:rPr>
              <a:t>2</a:t>
            </a:r>
            <a:endParaRPr lang="en-US" sz="1400" b="1" dirty="0">
              <a:solidFill>
                <a:srgbClr val="666666"/>
              </a:solidFill>
              <a:latin typeface="Gill Sans Light" pitchFamily="34" charset="0"/>
            </a:endParaRPr>
          </a:p>
        </p:txBody>
      </p:sp>
      <p:sp>
        <p:nvSpPr>
          <p:cNvPr id="21" name="Text Box 64"/>
          <p:cNvSpPr txBox="1">
            <a:spLocks noChangeArrowheads="1"/>
          </p:cNvSpPr>
          <p:nvPr/>
        </p:nvSpPr>
        <p:spPr bwMode="auto">
          <a:xfrm>
            <a:off x="2252818" y="3193231"/>
            <a:ext cx="27443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 dirty="0" smtClean="0">
                <a:solidFill>
                  <a:srgbClr val="666666"/>
                </a:solidFill>
                <a:latin typeface="Gill Sans Light" pitchFamily="34" charset="0"/>
              </a:rPr>
              <a:t>3</a:t>
            </a:r>
            <a:endParaRPr lang="en-US" sz="1400" b="1" dirty="0">
              <a:solidFill>
                <a:srgbClr val="666666"/>
              </a:solidFill>
              <a:latin typeface="Gill Sans Light" pitchFamily="34" charset="0"/>
            </a:endParaRPr>
          </a:p>
        </p:txBody>
      </p:sp>
      <p:sp>
        <p:nvSpPr>
          <p:cNvPr id="22" name="Text Box 65"/>
          <p:cNvSpPr txBox="1">
            <a:spLocks noChangeArrowheads="1"/>
          </p:cNvSpPr>
          <p:nvPr/>
        </p:nvSpPr>
        <p:spPr bwMode="auto">
          <a:xfrm>
            <a:off x="2251231" y="2527384"/>
            <a:ext cx="27443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 dirty="0" smtClean="0">
                <a:solidFill>
                  <a:srgbClr val="666666"/>
                </a:solidFill>
                <a:latin typeface="Gill Sans Light" pitchFamily="34" charset="0"/>
              </a:rPr>
              <a:t>4</a:t>
            </a:r>
            <a:endParaRPr lang="en-US" sz="1400" b="1" dirty="0">
              <a:solidFill>
                <a:srgbClr val="666666"/>
              </a:solidFill>
              <a:latin typeface="Gill Sans Light" pitchFamily="34" charset="0"/>
            </a:endParaRPr>
          </a:p>
        </p:txBody>
      </p:sp>
      <p:sp>
        <p:nvSpPr>
          <p:cNvPr id="23" name="Text Box 12"/>
          <p:cNvSpPr txBox="1">
            <a:spLocks noChangeArrowheads="1"/>
          </p:cNvSpPr>
          <p:nvPr/>
        </p:nvSpPr>
        <p:spPr bwMode="auto">
          <a:xfrm>
            <a:off x="8387578" y="5371018"/>
            <a:ext cx="476250" cy="230187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22325" eaLnBrk="0" hangingPunct="0">
              <a:spcAft>
                <a:spcPct val="15000"/>
              </a:spcAft>
            </a:pPr>
            <a:r>
              <a:rPr lang="pt-BR" sz="1500" dirty="0">
                <a:solidFill>
                  <a:srgbClr val="666666"/>
                </a:solidFill>
                <a:latin typeface="Gill Sans Light" pitchFamily="34" charset="0"/>
              </a:rPr>
              <a:t>Alto</a:t>
            </a:r>
            <a:endParaRPr lang="en-US" sz="1500" dirty="0">
              <a:solidFill>
                <a:srgbClr val="666666"/>
              </a:solidFill>
              <a:latin typeface="Gill Sans Light" pitchFamily="34" charset="0"/>
            </a:endParaRPr>
          </a:p>
        </p:txBody>
      </p:sp>
      <p:sp>
        <p:nvSpPr>
          <p:cNvPr id="24" name="Text Box 13"/>
          <p:cNvSpPr txBox="1">
            <a:spLocks noChangeArrowheads="1"/>
          </p:cNvSpPr>
          <p:nvPr/>
        </p:nvSpPr>
        <p:spPr bwMode="auto">
          <a:xfrm>
            <a:off x="2365214" y="1268760"/>
            <a:ext cx="473075" cy="228600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22325" eaLnBrk="0" hangingPunct="0">
              <a:spcAft>
                <a:spcPct val="15000"/>
              </a:spcAft>
            </a:pPr>
            <a:r>
              <a:rPr lang="pt-BR" sz="1500" dirty="0">
                <a:solidFill>
                  <a:srgbClr val="666666"/>
                </a:solidFill>
                <a:latin typeface="Gill Sans Light" pitchFamily="34" charset="0"/>
              </a:rPr>
              <a:t>Alto</a:t>
            </a:r>
            <a:endParaRPr lang="en-US" sz="1500" dirty="0">
              <a:solidFill>
                <a:srgbClr val="666666"/>
              </a:solidFill>
              <a:latin typeface="Gill Sans Light" pitchFamily="34" charset="0"/>
            </a:endParaRPr>
          </a:p>
        </p:txBody>
      </p:sp>
      <p:sp>
        <p:nvSpPr>
          <p:cNvPr id="31" name="Text Box 35"/>
          <p:cNvSpPr txBox="1">
            <a:spLocks noChangeArrowheads="1"/>
          </p:cNvSpPr>
          <p:nvPr/>
        </p:nvSpPr>
        <p:spPr bwMode="auto">
          <a:xfrm>
            <a:off x="229410" y="3247038"/>
            <a:ext cx="2021820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400" dirty="0" err="1" smtClean="0">
                <a:solidFill>
                  <a:schemeClr val="accent1">
                    <a:lumMod val="50000"/>
                  </a:schemeClr>
                </a:solidFill>
                <a:latin typeface="Gill Sans Light" pitchFamily="34" charset="0"/>
              </a:rPr>
              <a:t>Maturidade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Gill Sans Light" pitchFamily="34" charset="0"/>
              </a:rPr>
              <a:t> </a:t>
            </a:r>
            <a:r>
              <a:rPr lang="en-US" sz="1400" dirty="0" err="1" smtClean="0">
                <a:solidFill>
                  <a:schemeClr val="accent1">
                    <a:lumMod val="50000"/>
                  </a:schemeClr>
                </a:solidFill>
                <a:latin typeface="Gill Sans Light" pitchFamily="34" charset="0"/>
              </a:rPr>
              <a:t>atual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Gill Sans Light" pitchFamily="34" charset="0"/>
              </a:rPr>
              <a:t> </a:t>
            </a:r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  <a:latin typeface="Gill Sans Light" pitchFamily="34" charset="0"/>
              </a:rPr>
              <a:t>2.6</a:t>
            </a:r>
            <a:endParaRPr lang="en-US" sz="1600" b="1" dirty="0">
              <a:solidFill>
                <a:schemeClr val="accent1">
                  <a:lumMod val="50000"/>
                </a:schemeClr>
              </a:solidFill>
              <a:latin typeface="Gill Sans Light" pitchFamily="34" charset="0"/>
            </a:endParaRPr>
          </a:p>
        </p:txBody>
      </p:sp>
      <p:sp>
        <p:nvSpPr>
          <p:cNvPr id="32" name="Text Box 36"/>
          <p:cNvSpPr txBox="1">
            <a:spLocks noChangeArrowheads="1"/>
          </p:cNvSpPr>
          <p:nvPr/>
        </p:nvSpPr>
        <p:spPr bwMode="auto">
          <a:xfrm>
            <a:off x="229410" y="1950894"/>
            <a:ext cx="2021820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400" dirty="0" err="1" smtClean="0">
                <a:solidFill>
                  <a:schemeClr val="accent1">
                    <a:lumMod val="50000"/>
                  </a:schemeClr>
                </a:solidFill>
                <a:latin typeface="Gill Sans Light" pitchFamily="34" charset="0"/>
              </a:rPr>
              <a:t>Maturidade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Gill Sans Light" pitchFamily="34" charset="0"/>
              </a:rPr>
              <a:t> </a:t>
            </a:r>
            <a:r>
              <a:rPr lang="en-US" sz="1400" dirty="0" err="1" smtClean="0">
                <a:solidFill>
                  <a:schemeClr val="accent1">
                    <a:lumMod val="50000"/>
                  </a:schemeClr>
                </a:solidFill>
                <a:latin typeface="Gill Sans Light" pitchFamily="34" charset="0"/>
              </a:rPr>
              <a:t>futura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Gill Sans Light" pitchFamily="34" charset="0"/>
              </a:rPr>
              <a:t>  </a:t>
            </a:r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  <a:latin typeface="Gill Sans Light" pitchFamily="34" charset="0"/>
              </a:rPr>
              <a:t>4.6</a:t>
            </a:r>
            <a:endParaRPr lang="en-US" sz="1600" b="1" dirty="0">
              <a:solidFill>
                <a:schemeClr val="accent1">
                  <a:lumMod val="50000"/>
                </a:schemeClr>
              </a:solidFill>
              <a:latin typeface="Gill Sans Light" pitchFamily="34" charset="0"/>
            </a:endParaRPr>
          </a:p>
        </p:txBody>
      </p:sp>
      <p:graphicFrame>
        <p:nvGraphicFramePr>
          <p:cNvPr id="33" name="Diagrama 32"/>
          <p:cNvGraphicFramePr/>
          <p:nvPr>
            <p:extLst>
              <p:ext uri="{D42A27DB-BD31-4B8C-83A1-F6EECF244321}">
                <p14:modId xmlns:p14="http://schemas.microsoft.com/office/powerpoint/2010/main" val="321063606"/>
              </p:ext>
            </p:extLst>
          </p:nvPr>
        </p:nvGraphicFramePr>
        <p:xfrm>
          <a:off x="179512" y="5805264"/>
          <a:ext cx="1391816" cy="1368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34" name="CaixaDeTexto 33"/>
          <p:cNvSpPr txBox="1"/>
          <p:nvPr/>
        </p:nvSpPr>
        <p:spPr>
          <a:xfrm>
            <a:off x="8022424" y="6597352"/>
            <a:ext cx="10534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100" dirty="0">
                <a:solidFill>
                  <a:srgbClr val="666666"/>
                </a:solidFill>
                <a:latin typeface="Gill Sans" pitchFamily="34" charset="0"/>
              </a:rPr>
              <a:t>Fonte: </a:t>
            </a:r>
            <a:r>
              <a:rPr lang="pt-BR" sz="1100" dirty="0" smtClean="0">
                <a:solidFill>
                  <a:srgbClr val="666666"/>
                </a:solidFill>
                <a:latin typeface="Gill Sans" pitchFamily="34" charset="0"/>
              </a:rPr>
              <a:t>COBIT</a:t>
            </a:r>
            <a:endParaRPr lang="pt-BR" sz="1100" dirty="0">
              <a:solidFill>
                <a:srgbClr val="666666"/>
              </a:solidFill>
              <a:latin typeface="Gill Sans" pitchFamily="34" charset="0"/>
            </a:endParaRPr>
          </a:p>
        </p:txBody>
      </p:sp>
      <p:sp>
        <p:nvSpPr>
          <p:cNvPr id="36" name="Retângulo 6"/>
          <p:cNvSpPr>
            <a:spLocks noChangeArrowheads="1"/>
          </p:cNvSpPr>
          <p:nvPr/>
        </p:nvSpPr>
        <p:spPr bwMode="auto">
          <a:xfrm>
            <a:off x="3419872" y="2132856"/>
            <a:ext cx="161178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0" hangingPunct="0"/>
            <a:r>
              <a:rPr lang="pt-BR" sz="1400" b="1" dirty="0" smtClean="0">
                <a:solidFill>
                  <a:srgbClr val="612C51"/>
                </a:solidFill>
                <a:latin typeface="Gill Sans Light" pitchFamily="34" charset="0"/>
                <a:ea typeface="Times New Roman" pitchFamily="18" charset="0"/>
                <a:cs typeface="Calibri" pitchFamily="34" charset="0"/>
              </a:rPr>
              <a:t>Otimização</a:t>
            </a:r>
            <a:endParaRPr lang="pt-BR" sz="1400" b="1" dirty="0">
              <a:solidFill>
                <a:srgbClr val="612C51"/>
              </a:solidFill>
              <a:latin typeface="Gill Sans Light" pitchFamily="34" charset="0"/>
              <a:ea typeface="Times New Roman" pitchFamily="18" charset="0"/>
              <a:cs typeface="Calibri" pitchFamily="34" charset="0"/>
            </a:endParaRPr>
          </a:p>
        </p:txBody>
      </p:sp>
      <p:sp>
        <p:nvSpPr>
          <p:cNvPr id="37" name="Retângulo 36"/>
          <p:cNvSpPr>
            <a:spLocks noChangeArrowheads="1"/>
          </p:cNvSpPr>
          <p:nvPr/>
        </p:nvSpPr>
        <p:spPr bwMode="auto">
          <a:xfrm>
            <a:off x="3419873" y="2349461"/>
            <a:ext cx="4913057" cy="2975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0" hangingPunct="0">
              <a:lnSpc>
                <a:spcPts val="1600"/>
              </a:lnSpc>
            </a:pPr>
            <a:r>
              <a:rPr lang="pt-BR" sz="1200" dirty="0" smtClean="0">
                <a:solidFill>
                  <a:srgbClr val="666666"/>
                </a:solidFill>
                <a:latin typeface="Gill Sans Light" pitchFamily="34" charset="0"/>
                <a:ea typeface="Times New Roman" pitchFamily="18" charset="0"/>
                <a:cs typeface="Calibri" pitchFamily="34" charset="0"/>
              </a:rPr>
              <a:t>Foco contínuo nas melhorias dos processos.</a:t>
            </a:r>
            <a:endParaRPr lang="pt-BR" sz="1200" dirty="0">
              <a:solidFill>
                <a:srgbClr val="666666"/>
              </a:solidFill>
              <a:latin typeface="Gill Sans Light" pitchFamily="34" charset="0"/>
              <a:ea typeface="Times New Roman" pitchFamily="18" charset="0"/>
              <a:cs typeface="Calibri" pitchFamily="34" charset="0"/>
            </a:endParaRPr>
          </a:p>
        </p:txBody>
      </p:sp>
      <p:sp>
        <p:nvSpPr>
          <p:cNvPr id="38" name="Text Box 65"/>
          <p:cNvSpPr txBox="1">
            <a:spLocks noChangeArrowheads="1"/>
          </p:cNvSpPr>
          <p:nvPr/>
        </p:nvSpPr>
        <p:spPr bwMode="auto">
          <a:xfrm>
            <a:off x="2255584" y="1969095"/>
            <a:ext cx="28405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 dirty="0" smtClean="0">
                <a:solidFill>
                  <a:srgbClr val="666666"/>
                </a:solidFill>
                <a:latin typeface="Gill Sans Light" pitchFamily="34" charset="0"/>
              </a:rPr>
              <a:t>5</a:t>
            </a:r>
            <a:endParaRPr lang="en-US" sz="1400" b="1" dirty="0">
              <a:solidFill>
                <a:srgbClr val="666666"/>
              </a:solidFill>
              <a:latin typeface="Gill Sans Light" pitchFamily="34" charset="0"/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2045251" y="2924944"/>
            <a:ext cx="7626037" cy="3904790"/>
            <a:chOff x="2045251" y="2924944"/>
            <a:chExt cx="7626037" cy="3904790"/>
          </a:xfrm>
        </p:grpSpPr>
        <p:sp>
          <p:nvSpPr>
            <p:cNvPr id="39" name="Texto explicativo retangular com cantos arredondados 38"/>
            <p:cNvSpPr/>
            <p:nvPr/>
          </p:nvSpPr>
          <p:spPr>
            <a:xfrm>
              <a:off x="2045251" y="5059341"/>
              <a:ext cx="3011056" cy="1744550"/>
            </a:xfrm>
            <a:prstGeom prst="wedgeRoundRectCallout">
              <a:avLst>
                <a:gd name="adj1" fmla="val -54301"/>
                <a:gd name="adj2" fmla="val -139827"/>
                <a:gd name="adj3" fmla="val 16667"/>
              </a:avLst>
            </a:prstGeom>
            <a:solidFill>
              <a:srgbClr val="FFFF0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003">
              <a:schemeClr val="l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b="1" dirty="0" smtClean="0">
                  <a:solidFill>
                    <a:schemeClr val="tx1"/>
                  </a:solidFill>
                </a:rPr>
                <a:t>Inclua os Resultados da </a:t>
              </a:r>
              <a:r>
                <a:rPr lang="pt-BR" b="1" dirty="0" smtClean="0">
                  <a:solidFill>
                    <a:srgbClr val="FF0000"/>
                  </a:solidFill>
                </a:rPr>
                <a:t>Avaliação Maturidade de TI</a:t>
              </a:r>
              <a:endParaRPr lang="pt-BR" b="1" dirty="0">
                <a:solidFill>
                  <a:srgbClr val="FF0000"/>
                </a:solidFill>
              </a:endParaRPr>
            </a:p>
          </p:txBody>
        </p:sp>
        <p:sp>
          <p:nvSpPr>
            <p:cNvPr id="40" name="Texto explicativo retangular com cantos arredondados 39"/>
            <p:cNvSpPr/>
            <p:nvPr/>
          </p:nvSpPr>
          <p:spPr>
            <a:xfrm>
              <a:off x="6571672" y="2934429"/>
              <a:ext cx="3011056" cy="1744550"/>
            </a:xfrm>
            <a:prstGeom prst="wedgeRoundRectCallout">
              <a:avLst>
                <a:gd name="adj1" fmla="val -158664"/>
                <a:gd name="adj2" fmla="val -9160"/>
                <a:gd name="adj3" fmla="val 16667"/>
              </a:avLst>
            </a:prstGeom>
            <a:solidFill>
              <a:srgbClr val="FFFF0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003">
              <a:schemeClr val="l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b="1" dirty="0" smtClean="0">
                  <a:solidFill>
                    <a:schemeClr val="tx1"/>
                  </a:solidFill>
                </a:rPr>
                <a:t>Ajuste estas linhas conforme o seu resultado da </a:t>
              </a:r>
              <a:r>
                <a:rPr lang="pt-BR" b="1" dirty="0" smtClean="0">
                  <a:solidFill>
                    <a:srgbClr val="FF0000"/>
                  </a:solidFill>
                </a:rPr>
                <a:t>Avaliação Maturidade de TI</a:t>
              </a:r>
              <a:endParaRPr lang="pt-BR" b="1" dirty="0">
                <a:solidFill>
                  <a:srgbClr val="FF0000"/>
                </a:solidFill>
              </a:endParaRPr>
            </a:p>
          </p:txBody>
        </p:sp>
        <p:sp>
          <p:nvSpPr>
            <p:cNvPr id="41" name="Texto explicativo retangular com cantos arredondados 40"/>
            <p:cNvSpPr/>
            <p:nvPr/>
          </p:nvSpPr>
          <p:spPr>
            <a:xfrm>
              <a:off x="6660232" y="2924944"/>
              <a:ext cx="3011056" cy="1744550"/>
            </a:xfrm>
            <a:prstGeom prst="wedgeRoundRectCallout">
              <a:avLst>
                <a:gd name="adj1" fmla="val -172351"/>
                <a:gd name="adj2" fmla="val -92581"/>
                <a:gd name="adj3" fmla="val 16667"/>
              </a:avLst>
            </a:prstGeom>
            <a:solidFill>
              <a:srgbClr val="FFFF0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003">
              <a:schemeClr val="l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b="1" dirty="0" smtClean="0">
                  <a:solidFill>
                    <a:schemeClr val="tx1"/>
                  </a:solidFill>
                </a:rPr>
                <a:t>Ajuste estas linhas conforme o seu resultado da </a:t>
              </a:r>
              <a:r>
                <a:rPr lang="pt-BR" b="1" dirty="0" smtClean="0">
                  <a:solidFill>
                    <a:srgbClr val="FF0000"/>
                  </a:solidFill>
                </a:rPr>
                <a:t>Avaliação Maturidade de TI</a:t>
              </a:r>
              <a:endParaRPr lang="pt-BR" b="1" dirty="0">
                <a:solidFill>
                  <a:srgbClr val="FF0000"/>
                </a:solidFill>
              </a:endParaRPr>
            </a:p>
          </p:txBody>
        </p:sp>
        <p:sp>
          <p:nvSpPr>
            <p:cNvPr id="44" name="Texto explicativo retangular com cantos arredondados 43"/>
            <p:cNvSpPr/>
            <p:nvPr/>
          </p:nvSpPr>
          <p:spPr>
            <a:xfrm>
              <a:off x="2051720" y="5085184"/>
              <a:ext cx="3011056" cy="1744550"/>
            </a:xfrm>
            <a:prstGeom prst="wedgeRoundRectCallout">
              <a:avLst>
                <a:gd name="adj1" fmla="val -50879"/>
                <a:gd name="adj2" fmla="val -214389"/>
                <a:gd name="adj3" fmla="val 16667"/>
              </a:avLst>
            </a:prstGeom>
            <a:solidFill>
              <a:srgbClr val="FFFF0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003">
              <a:schemeClr val="l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b="1" dirty="0" smtClean="0">
                  <a:solidFill>
                    <a:schemeClr val="tx1"/>
                  </a:solidFill>
                </a:rPr>
                <a:t>Inclua os Resultados da </a:t>
              </a:r>
              <a:r>
                <a:rPr lang="pt-BR" b="1" dirty="0" smtClean="0">
                  <a:solidFill>
                    <a:srgbClr val="FF0000"/>
                  </a:solidFill>
                </a:rPr>
                <a:t>Avaliação Maturidade de TI</a:t>
              </a:r>
              <a:endParaRPr lang="pt-BR" b="1" dirty="0">
                <a:solidFill>
                  <a:srgbClr val="FF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9443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1" dur="500"/>
                                        <p:tgtEl>
                                          <p:spTgt spid="20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1000"/>
                                        <p:tgtEl>
                                          <p:spTgt spid="2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2000"/>
                            </p:stCondLst>
                            <p:childTnLst>
                              <p:par>
                                <p:cTn id="5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2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3000"/>
                            </p:stCondLst>
                            <p:childTnLst>
                              <p:par>
                                <p:cTn id="6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9" dur="500"/>
                                        <p:tgtEl>
                                          <p:spTgt spid="20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3500"/>
                            </p:stCondLst>
                            <p:childTnLst>
                              <p:par>
                                <p:cTn id="7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/>
      <p:bldP spid="7" grpId="0"/>
      <p:bldP spid="8" grpId="0"/>
      <p:bldP spid="9" grpId="0"/>
      <p:bldP spid="10" grpId="0"/>
      <p:bldP spid="11" grpId="0"/>
      <p:bldP spid="12" grpId="0"/>
      <p:bldP spid="13" grpId="0"/>
      <p:bldP spid="19" grpId="0"/>
      <p:bldP spid="20" grpId="0"/>
      <p:bldP spid="21" grpId="0"/>
      <p:bldP spid="22" grpId="0"/>
      <p:bldP spid="23" grpId="0"/>
      <p:bldP spid="24" grpId="0"/>
      <p:bldP spid="31" grpId="0"/>
      <p:bldP spid="32" grpId="0"/>
      <p:bldP spid="36" grpId="0"/>
      <p:bldP spid="37" grpId="0"/>
      <p:bldP spid="3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-36512" y="1412776"/>
            <a:ext cx="9180512" cy="3294906"/>
          </a:xfrm>
          <a:prstGeom prst="rect">
            <a:avLst/>
          </a:prstGeom>
          <a:noFill/>
        </p:spPr>
      </p:pic>
      <p:pic>
        <p:nvPicPr>
          <p:cNvPr id="34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-36512" y="4149080"/>
            <a:ext cx="9180512" cy="3168352"/>
          </a:xfrm>
          <a:prstGeom prst="rect">
            <a:avLst/>
          </a:prstGeom>
          <a:noFill/>
        </p:spPr>
      </p:pic>
      <p:sp>
        <p:nvSpPr>
          <p:cNvPr id="9" name="Retângulo 6"/>
          <p:cNvSpPr>
            <a:spLocks noChangeArrowheads="1"/>
          </p:cNvSpPr>
          <p:nvPr/>
        </p:nvSpPr>
        <p:spPr bwMode="auto">
          <a:xfrm>
            <a:off x="277812" y="1754188"/>
            <a:ext cx="2503488" cy="739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en-US" sz="2800" dirty="0" err="1">
                <a:solidFill>
                  <a:schemeClr val="bg1"/>
                </a:solidFill>
                <a:latin typeface="Gill Sans" pitchFamily="34" charset="0"/>
                <a:cs typeface="Times New Roman" pitchFamily="18" charset="0"/>
                <a:sym typeface="Gill Sans Std"/>
              </a:rPr>
              <a:t>Tendências</a:t>
            </a:r>
            <a:r>
              <a:rPr lang="en-US" sz="2800" dirty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  <a:sym typeface="Gill Sans Std"/>
              </a:rPr>
              <a:t> </a:t>
            </a:r>
            <a:r>
              <a:rPr lang="en-US" sz="2800" dirty="0" err="1">
                <a:solidFill>
                  <a:schemeClr val="bg1"/>
                </a:solidFill>
                <a:latin typeface="Gill Sans" pitchFamily="34" charset="0"/>
                <a:cs typeface="Times New Roman" pitchFamily="18" charset="0"/>
                <a:sym typeface="Gill Sans Std"/>
              </a:rPr>
              <a:t>Tecnológicas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sp>
        <p:nvSpPr>
          <p:cNvPr id="10" name="Retângulo 6"/>
          <p:cNvSpPr>
            <a:spLocks noChangeArrowheads="1"/>
          </p:cNvSpPr>
          <p:nvPr/>
        </p:nvSpPr>
        <p:spPr bwMode="auto">
          <a:xfrm>
            <a:off x="3390900" y="1911350"/>
            <a:ext cx="2695575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Realizações</a:t>
            </a:r>
          </a:p>
        </p:txBody>
      </p:sp>
      <p:sp>
        <p:nvSpPr>
          <p:cNvPr id="11" name="Retângulo 6"/>
          <p:cNvSpPr>
            <a:spLocks noChangeArrowheads="1"/>
          </p:cNvSpPr>
          <p:nvPr/>
        </p:nvSpPr>
        <p:spPr bwMode="auto">
          <a:xfrm>
            <a:off x="6443663" y="1813361"/>
            <a:ext cx="252095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 smtClean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Nossa</a:t>
            </a:r>
          </a:p>
          <a:p>
            <a:pPr algn="ctr" eaLnBrk="0" hangingPunct="0">
              <a:lnSpc>
                <a:spcPct val="75000"/>
              </a:lnSpc>
            </a:pPr>
            <a:r>
              <a:rPr lang="pt-BR" sz="2800" dirty="0" smtClean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Maturidade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sp>
        <p:nvSpPr>
          <p:cNvPr id="13" name="Retângulo 6"/>
          <p:cNvSpPr>
            <a:spLocks noChangeArrowheads="1"/>
          </p:cNvSpPr>
          <p:nvPr/>
        </p:nvSpPr>
        <p:spPr bwMode="auto">
          <a:xfrm>
            <a:off x="3224213" y="4707682"/>
            <a:ext cx="2695575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 err="1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Roadmap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sp>
        <p:nvSpPr>
          <p:cNvPr id="14" name="Retângulo 6"/>
          <p:cNvSpPr>
            <a:spLocks noChangeArrowheads="1"/>
          </p:cNvSpPr>
          <p:nvPr/>
        </p:nvSpPr>
        <p:spPr bwMode="auto">
          <a:xfrm>
            <a:off x="6362700" y="4740731"/>
            <a:ext cx="2660650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 smtClean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Investimentos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cxnSp>
        <p:nvCxnSpPr>
          <p:cNvPr id="24" name="Conector reto 23"/>
          <p:cNvCxnSpPr/>
          <p:nvPr/>
        </p:nvCxnSpPr>
        <p:spPr>
          <a:xfrm>
            <a:off x="2949575" y="1878013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to 24"/>
          <p:cNvCxnSpPr/>
          <p:nvPr/>
        </p:nvCxnSpPr>
        <p:spPr>
          <a:xfrm>
            <a:off x="6215063" y="1878013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to 25"/>
          <p:cNvCxnSpPr/>
          <p:nvPr/>
        </p:nvCxnSpPr>
        <p:spPr>
          <a:xfrm>
            <a:off x="2947988" y="4615607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to 26"/>
          <p:cNvCxnSpPr/>
          <p:nvPr/>
        </p:nvCxnSpPr>
        <p:spPr>
          <a:xfrm>
            <a:off x="6200775" y="4615607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Diagrama 22"/>
          <p:cNvGraphicFramePr/>
          <p:nvPr/>
        </p:nvGraphicFramePr>
        <p:xfrm>
          <a:off x="155848" y="188640"/>
          <a:ext cx="1391816" cy="1368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0" name="Retângulo 6"/>
          <p:cNvSpPr>
            <a:spLocks noChangeArrowheads="1"/>
          </p:cNvSpPr>
          <p:nvPr/>
        </p:nvSpPr>
        <p:spPr bwMode="auto">
          <a:xfrm>
            <a:off x="117475" y="4661644"/>
            <a:ext cx="2695575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Uma Nova TI</a:t>
            </a:r>
          </a:p>
        </p:txBody>
      </p:sp>
      <p:sp>
        <p:nvSpPr>
          <p:cNvPr id="31" name="Retângulo 3"/>
          <p:cNvSpPr>
            <a:spLocks noChangeArrowheads="1"/>
          </p:cNvSpPr>
          <p:nvPr/>
        </p:nvSpPr>
        <p:spPr bwMode="auto">
          <a:xfrm>
            <a:off x="3092450" y="180187"/>
            <a:ext cx="3108543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/>
            <a:r>
              <a:rPr lang="pt-BR" sz="5400" dirty="0">
                <a:solidFill>
                  <a:schemeClr val="accent1">
                    <a:lumMod val="50000"/>
                  </a:schemeClr>
                </a:solidFill>
                <a:latin typeface="Gill Sans Light" pitchFamily="34" charset="0"/>
                <a:cs typeface="Times New Roman" pitchFamily="18" charset="0"/>
              </a:rPr>
              <a:t>AGENDA</a:t>
            </a:r>
          </a:p>
        </p:txBody>
      </p:sp>
      <p:pic>
        <p:nvPicPr>
          <p:cNvPr id="16" name="Imagem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6226" y="2535598"/>
            <a:ext cx="1720970" cy="1541474"/>
          </a:xfrm>
          <a:prstGeom prst="rect">
            <a:avLst/>
          </a:prstGeom>
          <a:ln>
            <a:noFill/>
          </a:ln>
        </p:spPr>
      </p:pic>
      <p:graphicFrame>
        <p:nvGraphicFramePr>
          <p:cNvPr id="40" name="Diagrama 39"/>
          <p:cNvGraphicFramePr/>
          <p:nvPr/>
        </p:nvGraphicFramePr>
        <p:xfrm>
          <a:off x="3950812" y="2492895"/>
          <a:ext cx="1773316" cy="15511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41" name="Diagrama 40"/>
          <p:cNvGraphicFramePr/>
          <p:nvPr/>
        </p:nvGraphicFramePr>
        <p:xfrm>
          <a:off x="6804248" y="2540769"/>
          <a:ext cx="2088357" cy="15363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graphicFrame>
        <p:nvGraphicFramePr>
          <p:cNvPr id="42" name="Diagrama 41"/>
          <p:cNvGraphicFramePr/>
          <p:nvPr/>
        </p:nvGraphicFramePr>
        <p:xfrm>
          <a:off x="666227" y="5124143"/>
          <a:ext cx="1720970" cy="1560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  <p:graphicFrame>
        <p:nvGraphicFramePr>
          <p:cNvPr id="43" name="Diagrama 42"/>
          <p:cNvGraphicFramePr/>
          <p:nvPr/>
        </p:nvGraphicFramePr>
        <p:xfrm>
          <a:off x="3707904" y="5136700"/>
          <a:ext cx="1759129" cy="14674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4" r:lo="rId25" r:qs="rId26" r:cs="rId27"/>
          </a:graphicData>
        </a:graphic>
      </p:graphicFrame>
      <p:graphicFrame>
        <p:nvGraphicFramePr>
          <p:cNvPr id="44" name="Diagrama 43"/>
          <p:cNvGraphicFramePr/>
          <p:nvPr/>
        </p:nvGraphicFramePr>
        <p:xfrm>
          <a:off x="6804247" y="5162457"/>
          <a:ext cx="1915571" cy="15121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9" r:lo="rId30" r:qs="rId31" r:cs="rId32"/>
          </a:graphicData>
        </a:graphic>
      </p:graphicFrame>
      <p:sp>
        <p:nvSpPr>
          <p:cNvPr id="22" name="Seta para baixo 21"/>
          <p:cNvSpPr/>
          <p:nvPr/>
        </p:nvSpPr>
        <p:spPr>
          <a:xfrm rot="3556369">
            <a:off x="2568772" y="4288412"/>
            <a:ext cx="792088" cy="1048657"/>
          </a:xfrm>
          <a:prstGeom prst="downArrow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68558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3" grpId="0"/>
      <p:bldP spid="14" grpId="0"/>
      <p:bldP spid="30" grpId="0"/>
      <p:bldP spid="22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de cantos arredondados 14"/>
          <p:cNvSpPr/>
          <p:nvPr/>
        </p:nvSpPr>
        <p:spPr>
          <a:xfrm>
            <a:off x="4564063" y="3335918"/>
            <a:ext cx="2159000" cy="3458408"/>
          </a:xfrm>
          <a:prstGeom prst="roundRect">
            <a:avLst>
              <a:gd name="adj" fmla="val 5807"/>
            </a:avLst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21" name="Retângulo de cantos arredondados 20"/>
          <p:cNvSpPr/>
          <p:nvPr/>
        </p:nvSpPr>
        <p:spPr>
          <a:xfrm>
            <a:off x="6804025" y="3354968"/>
            <a:ext cx="2159000" cy="3458408"/>
          </a:xfrm>
          <a:prstGeom prst="roundRect">
            <a:avLst>
              <a:gd name="adj" fmla="val 5807"/>
            </a:avLst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22" name="Retângulo de cantos arredondados 21"/>
          <p:cNvSpPr/>
          <p:nvPr/>
        </p:nvSpPr>
        <p:spPr>
          <a:xfrm>
            <a:off x="34925" y="3350205"/>
            <a:ext cx="2159000" cy="3458408"/>
          </a:xfrm>
          <a:prstGeom prst="roundRect">
            <a:avLst>
              <a:gd name="adj" fmla="val 5807"/>
            </a:avLst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23" name="Retângulo de cantos arredondados 22"/>
          <p:cNvSpPr/>
          <p:nvPr/>
        </p:nvSpPr>
        <p:spPr>
          <a:xfrm>
            <a:off x="2268538" y="3350205"/>
            <a:ext cx="2159000" cy="3458408"/>
          </a:xfrm>
          <a:prstGeom prst="roundRect">
            <a:avLst>
              <a:gd name="adj" fmla="val 5807"/>
            </a:avLst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18794" name="Retângulo 4"/>
          <p:cNvSpPr>
            <a:spLocks noChangeArrowheads="1"/>
          </p:cNvSpPr>
          <p:nvPr/>
        </p:nvSpPr>
        <p:spPr bwMode="auto">
          <a:xfrm>
            <a:off x="163513" y="1747051"/>
            <a:ext cx="8592939" cy="1089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As novas tecnologias e conceitos estão transformando negócios e criando novos modelos, canais e revolucionando o engajamento das empresas com seus clientes e parceiros. Esta evolução depende também de nossa atuação, o que nos estimula a planejar uma nova TI  com estes pilares para termos sucesso:</a:t>
            </a:r>
          </a:p>
        </p:txBody>
      </p:sp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2278063" y="3674054"/>
            <a:ext cx="2286000" cy="3000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b="1" dirty="0">
                <a:solidFill>
                  <a:srgbClr val="C00000"/>
                </a:solidFill>
              </a:rPr>
              <a:t>Big Data &amp; </a:t>
            </a:r>
            <a:r>
              <a:rPr lang="pt-BR" b="1" dirty="0" err="1">
                <a:solidFill>
                  <a:srgbClr val="C00000"/>
                </a:solidFill>
              </a:rPr>
              <a:t>Analytics</a:t>
            </a: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sz="1700" dirty="0">
                <a:solidFill>
                  <a:srgbClr val="666666"/>
                </a:solidFill>
              </a:rPr>
              <a:t>Ajudam  a entender melhor as necessidades de seus clientes, melhorar a experiência e  identificar outras  oportunidades de vendas.</a:t>
            </a:r>
          </a:p>
        </p:txBody>
      </p:sp>
      <p:sp>
        <p:nvSpPr>
          <p:cNvPr id="9" name="Retângulo 8"/>
          <p:cNvSpPr>
            <a:spLocks noChangeArrowheads="1"/>
          </p:cNvSpPr>
          <p:nvPr/>
        </p:nvSpPr>
        <p:spPr bwMode="auto">
          <a:xfrm>
            <a:off x="163513" y="3674054"/>
            <a:ext cx="1873250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b="1" dirty="0">
                <a:solidFill>
                  <a:srgbClr val="C00000"/>
                </a:solidFill>
              </a:rPr>
              <a:t>Mídias Sociais</a:t>
            </a: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sz="1700" dirty="0">
                <a:solidFill>
                  <a:srgbClr val="666666"/>
                </a:solidFill>
              </a:rPr>
              <a:t>São os melhores canais para estreitar o relacionamento com seus clientes.</a:t>
            </a:r>
          </a:p>
        </p:txBody>
      </p:sp>
      <p:sp>
        <p:nvSpPr>
          <p:cNvPr id="10" name="Retângulo 9"/>
          <p:cNvSpPr>
            <a:spLocks noChangeArrowheads="1"/>
          </p:cNvSpPr>
          <p:nvPr/>
        </p:nvSpPr>
        <p:spPr bwMode="auto">
          <a:xfrm>
            <a:off x="6875463" y="3678817"/>
            <a:ext cx="2159000" cy="27238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b="1" dirty="0">
                <a:solidFill>
                  <a:srgbClr val="C00000"/>
                </a:solidFill>
              </a:rPr>
              <a:t>Mobilidade</a:t>
            </a: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sz="1700" dirty="0">
                <a:solidFill>
                  <a:srgbClr val="666666"/>
                </a:solidFill>
              </a:rPr>
              <a:t>A disponibilidade de novos serviços, acessíveis de qualquer lugar e a qualquer momento tem transformado as relações entre consumidores e empresas.</a:t>
            </a:r>
          </a:p>
        </p:txBody>
      </p:sp>
      <p:sp>
        <p:nvSpPr>
          <p:cNvPr id="11" name="Retângulo 10"/>
          <p:cNvSpPr>
            <a:spLocks noChangeArrowheads="1"/>
          </p:cNvSpPr>
          <p:nvPr/>
        </p:nvSpPr>
        <p:spPr bwMode="auto">
          <a:xfrm>
            <a:off x="4583113" y="3659767"/>
            <a:ext cx="2149475" cy="27238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b="1" dirty="0" err="1">
                <a:solidFill>
                  <a:srgbClr val="C00000"/>
                </a:solidFill>
              </a:rPr>
              <a:t>Cloud</a:t>
            </a:r>
            <a:r>
              <a:rPr lang="pt-BR" b="1" dirty="0">
                <a:solidFill>
                  <a:srgbClr val="C00000"/>
                </a:solidFill>
              </a:rPr>
              <a:t> </a:t>
            </a:r>
            <a:r>
              <a:rPr lang="pt-BR" b="1" dirty="0" err="1">
                <a:solidFill>
                  <a:srgbClr val="C00000"/>
                </a:solidFill>
              </a:rPr>
              <a:t>Computing</a:t>
            </a: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sz="1700" dirty="0">
                <a:solidFill>
                  <a:srgbClr val="666666"/>
                </a:solidFill>
              </a:rPr>
              <a:t>As economias de escala proveniente de soluções CLOUD potencializam a eficiência, a escalabilidade e redução efetiva de custos.</a:t>
            </a:r>
          </a:p>
        </p:txBody>
      </p:sp>
      <p:pic>
        <p:nvPicPr>
          <p:cNvPr id="19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0" y="260648"/>
            <a:ext cx="8077200" cy="1600200"/>
          </a:xfrm>
          <a:prstGeom prst="rect">
            <a:avLst/>
          </a:prstGeom>
          <a:noFill/>
        </p:spPr>
      </p:pic>
      <p:sp>
        <p:nvSpPr>
          <p:cNvPr id="24" name="Retângulo 23"/>
          <p:cNvSpPr>
            <a:spLocks noChangeArrowheads="1"/>
          </p:cNvSpPr>
          <p:nvPr/>
        </p:nvSpPr>
        <p:spPr bwMode="auto">
          <a:xfrm>
            <a:off x="1162247" y="530650"/>
            <a:ext cx="6650113" cy="89255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/>
          <a:lstStyle/>
          <a:p>
            <a:r>
              <a:rPr lang="pt-BR" sz="2600" dirty="0" smtClean="0">
                <a:solidFill>
                  <a:schemeClr val="bg1"/>
                </a:solidFill>
                <a:latin typeface="Gill Sans Light" pitchFamily="34" charset="0"/>
              </a:rPr>
              <a:t>Uma Nova TI</a:t>
            </a:r>
            <a:endParaRPr lang="pt-BR" sz="2600" dirty="0">
              <a:solidFill>
                <a:schemeClr val="bg1"/>
              </a:solidFill>
              <a:latin typeface="Gill Sans Light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7324" y="3146469"/>
            <a:ext cx="468000" cy="468000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94468" y="3164145"/>
            <a:ext cx="468000" cy="468000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8190" y="3151267"/>
            <a:ext cx="503100" cy="468000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74802" y="3125509"/>
            <a:ext cx="468000" cy="468000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grpSp>
        <p:nvGrpSpPr>
          <p:cNvPr id="13" name="Grupo 12"/>
          <p:cNvGrpSpPr/>
          <p:nvPr/>
        </p:nvGrpSpPr>
        <p:grpSpPr>
          <a:xfrm>
            <a:off x="6889536" y="512605"/>
            <a:ext cx="2144927" cy="1253618"/>
            <a:chOff x="6889536" y="512605"/>
            <a:chExt cx="2144927" cy="1253618"/>
          </a:xfrm>
        </p:grpSpPr>
        <p:sp>
          <p:nvSpPr>
            <p:cNvPr id="30" name="Texto explicativo retangular com cantos arredondados 29"/>
            <p:cNvSpPr/>
            <p:nvPr/>
          </p:nvSpPr>
          <p:spPr>
            <a:xfrm>
              <a:off x="6889536" y="512605"/>
              <a:ext cx="2110489" cy="1253618"/>
            </a:xfrm>
            <a:prstGeom prst="wedgeRoundRectCallout">
              <a:avLst>
                <a:gd name="adj1" fmla="val -147151"/>
                <a:gd name="adj2" fmla="val 80992"/>
                <a:gd name="adj3" fmla="val 16667"/>
              </a:avLst>
            </a:prstGeom>
            <a:solidFill>
              <a:srgbClr val="FFFF0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003">
              <a:schemeClr val="l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b="1" dirty="0" smtClean="0">
                  <a:solidFill>
                    <a:schemeClr val="tx1"/>
                  </a:solidFill>
                </a:rPr>
                <a:t>Se necessário atualize o </a:t>
              </a:r>
              <a:r>
                <a:rPr lang="pt-BR" b="1" dirty="0" smtClean="0">
                  <a:solidFill>
                    <a:srgbClr val="FF0000"/>
                  </a:solidFill>
                </a:rPr>
                <a:t>texto e os temas </a:t>
              </a:r>
              <a:r>
                <a:rPr lang="pt-BR" b="1" dirty="0" smtClean="0">
                  <a:solidFill>
                    <a:schemeClr val="tx1"/>
                  </a:solidFill>
                </a:rPr>
                <a:t>conforme sua estratégia</a:t>
              </a:r>
              <a:endParaRPr lang="pt-BR" b="1" dirty="0">
                <a:solidFill>
                  <a:schemeClr val="tx1"/>
                </a:solidFill>
              </a:endParaRPr>
            </a:p>
          </p:txBody>
        </p:sp>
        <p:sp>
          <p:nvSpPr>
            <p:cNvPr id="31" name="Texto explicativo retangular com cantos arredondados 30"/>
            <p:cNvSpPr/>
            <p:nvPr/>
          </p:nvSpPr>
          <p:spPr>
            <a:xfrm>
              <a:off x="6923974" y="512605"/>
              <a:ext cx="2110489" cy="1253618"/>
            </a:xfrm>
            <a:prstGeom prst="wedgeRoundRectCallout">
              <a:avLst>
                <a:gd name="adj1" fmla="val -164848"/>
                <a:gd name="adj2" fmla="val 190917"/>
                <a:gd name="adj3" fmla="val 16667"/>
              </a:avLst>
            </a:prstGeom>
            <a:solidFill>
              <a:srgbClr val="FFFF0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003">
              <a:schemeClr val="l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b="1" dirty="0" smtClean="0">
                  <a:solidFill>
                    <a:schemeClr val="tx1"/>
                  </a:solidFill>
                </a:rPr>
                <a:t>Se necessário atualize o </a:t>
              </a:r>
              <a:r>
                <a:rPr lang="pt-BR" b="1" dirty="0" smtClean="0">
                  <a:solidFill>
                    <a:srgbClr val="FF0000"/>
                  </a:solidFill>
                </a:rPr>
                <a:t>texto e os temas </a:t>
              </a:r>
              <a:r>
                <a:rPr lang="pt-BR" b="1" dirty="0" smtClean="0">
                  <a:solidFill>
                    <a:schemeClr val="tx1"/>
                  </a:solidFill>
                </a:rPr>
                <a:t>conforme sua estratégia</a:t>
              </a:r>
              <a:endParaRPr lang="pt-BR" b="1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730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o 2"/>
          <p:cNvGrpSpPr/>
          <p:nvPr/>
        </p:nvGrpSpPr>
        <p:grpSpPr>
          <a:xfrm>
            <a:off x="611560" y="692696"/>
            <a:ext cx="8096068" cy="6146177"/>
            <a:chOff x="611560" y="692696"/>
            <a:chExt cx="8096068" cy="6146177"/>
          </a:xfrm>
        </p:grpSpPr>
        <p:sp>
          <p:nvSpPr>
            <p:cNvPr id="9" name="Texto explicativo retangular com cantos arredondados 8"/>
            <p:cNvSpPr/>
            <p:nvPr/>
          </p:nvSpPr>
          <p:spPr>
            <a:xfrm>
              <a:off x="2771800" y="3992185"/>
              <a:ext cx="1008112" cy="360040"/>
            </a:xfrm>
            <a:prstGeom prst="wedgeRoundRectCallout">
              <a:avLst>
                <a:gd name="adj1" fmla="val -50734"/>
                <a:gd name="adj2" fmla="val 77910"/>
                <a:gd name="adj3" fmla="val 16667"/>
              </a:avLst>
            </a:prstGeom>
            <a:solidFill>
              <a:srgbClr val="FFFF0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003">
              <a:schemeClr val="l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/>
            </a:p>
          </p:txBody>
        </p:sp>
        <p:sp>
          <p:nvSpPr>
            <p:cNvPr id="17" name="Rectangle 15"/>
            <p:cNvSpPr>
              <a:spLocks/>
            </p:cNvSpPr>
            <p:nvPr/>
          </p:nvSpPr>
          <p:spPr bwMode="auto">
            <a:xfrm>
              <a:off x="956450" y="692696"/>
              <a:ext cx="7720006" cy="45665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t"/>
            <a:lstStyle/>
            <a:p>
              <a:r>
                <a:rPr lang="en-US" sz="2600" dirty="0" smtClean="0">
                  <a:solidFill>
                    <a:srgbClr val="C00000"/>
                  </a:solidFill>
                  <a:latin typeface="Gill Sans Light" pitchFamily="34" charset="0"/>
                  <a:sym typeface="Gill Sans Std"/>
                </a:rPr>
                <a:t>INTRUÇÕES PARA PREENCHIMENTO do PPT</a:t>
              </a:r>
              <a:endParaRPr lang="en-US" sz="2600" dirty="0">
                <a:solidFill>
                  <a:srgbClr val="C00000"/>
                </a:solidFill>
                <a:latin typeface="Gill Sans Light" pitchFamily="34" charset="0"/>
                <a:sym typeface="Gill Sans Std"/>
              </a:endParaRPr>
            </a:p>
            <a:p>
              <a:endParaRPr lang="pt-BR" sz="2600" dirty="0">
                <a:solidFill>
                  <a:srgbClr val="C00000"/>
                </a:solidFill>
                <a:latin typeface="Gill Sans Light" pitchFamily="34" charset="0"/>
                <a:sym typeface="Gill Sans Std"/>
              </a:endParaRPr>
            </a:p>
          </p:txBody>
        </p:sp>
        <p:sp>
          <p:nvSpPr>
            <p:cNvPr id="156677" name="CaixaDeTexto 2"/>
            <p:cNvSpPr txBox="1">
              <a:spLocks noChangeArrowheads="1"/>
            </p:cNvSpPr>
            <p:nvPr/>
          </p:nvSpPr>
          <p:spPr bwMode="auto">
            <a:xfrm>
              <a:off x="611560" y="1503094"/>
              <a:ext cx="8096068" cy="43021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342900" indent="-342900">
                <a:lnSpc>
                  <a:spcPct val="80000"/>
                </a:lnSpc>
                <a:spcBef>
                  <a:spcPct val="20000"/>
                </a:spcBef>
                <a:spcAft>
                  <a:spcPct val="30000"/>
                </a:spcAft>
                <a:buFont typeface="Arial" panose="020B0604020202020204" pitchFamily="34" charset="0"/>
                <a:buChar char="•"/>
              </a:pP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Esta apresentação é um direcionador para que você consiga construir um plano estratégico (Macro) para sua TI, você deverá </a:t>
              </a: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ajustá-lo </a:t>
              </a: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de acordo com sua realidade.</a:t>
              </a:r>
            </a:p>
            <a:p>
              <a:pPr marL="342900" indent="-342900">
                <a:lnSpc>
                  <a:spcPct val="80000"/>
                </a:lnSpc>
                <a:spcBef>
                  <a:spcPct val="20000"/>
                </a:spcBef>
                <a:spcAft>
                  <a:spcPct val="30000"/>
                </a:spcAft>
                <a:buFont typeface="Arial" panose="020B0604020202020204" pitchFamily="34" charset="0"/>
                <a:buChar char="•"/>
              </a:pP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Vale lembrar que as necessidades estão mudando cada vez mais rápidas, então o objetivo é criar um plano “macro” direcionador para ajudar sua TI e consequentemente a empresa na transformação.</a:t>
              </a:r>
            </a:p>
            <a:p>
              <a:pPr marL="342900" indent="-342900">
                <a:lnSpc>
                  <a:spcPct val="80000"/>
                </a:lnSpc>
                <a:spcBef>
                  <a:spcPct val="20000"/>
                </a:spcBef>
                <a:spcAft>
                  <a:spcPct val="30000"/>
                </a:spcAft>
                <a:buFont typeface="Arial" panose="020B0604020202020204" pitchFamily="34" charset="0"/>
                <a:buChar char="•"/>
              </a:pP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Utilize a Planilha de Avaliação da Maturidade de TI para complementar as informações deste plano. </a:t>
              </a:r>
            </a:p>
            <a:p>
              <a:pPr lvl="1">
                <a:lnSpc>
                  <a:spcPct val="80000"/>
                </a:lnSpc>
                <a:spcBef>
                  <a:spcPct val="20000"/>
                </a:spcBef>
                <a:spcAft>
                  <a:spcPct val="30000"/>
                </a:spcAft>
              </a:pPr>
              <a:r>
                <a:rPr lang="pt-BR" dirty="0" smtClean="0">
                  <a:solidFill>
                    <a:srgbClr val="FF0000"/>
                  </a:solidFill>
                  <a:latin typeface="Gill Sans" pitchFamily="34" charset="0"/>
                </a:rPr>
                <a:t>=&gt; </a:t>
              </a:r>
              <a:r>
                <a:rPr lang="pt-BR" dirty="0" smtClean="0">
                  <a:solidFill>
                    <a:srgbClr val="FF0000"/>
                  </a:solidFill>
                  <a:latin typeface="Gill Sans" pitchFamily="34" charset="0"/>
                  <a:hlinkClick r:id="rId2"/>
                </a:rPr>
                <a:t>CLIQUE AQUI para baixar a Planilha Gratuitamente!</a:t>
              </a:r>
              <a:endParaRPr lang="pt-BR" dirty="0" smtClean="0">
                <a:solidFill>
                  <a:srgbClr val="FF0000"/>
                </a:solidFill>
                <a:latin typeface="Gill Sans" pitchFamily="34" charset="0"/>
              </a:endParaRPr>
            </a:p>
            <a:p>
              <a:pPr marL="342900" indent="-342900">
                <a:lnSpc>
                  <a:spcPct val="80000"/>
                </a:lnSpc>
                <a:spcBef>
                  <a:spcPct val="20000"/>
                </a:spcBef>
                <a:spcAft>
                  <a:spcPct val="30000"/>
                </a:spcAft>
                <a:buFont typeface="Arial" panose="020B0604020202020204" pitchFamily="34" charset="0"/>
                <a:buChar char="•"/>
              </a:pP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Você encontrará POST-</a:t>
              </a:r>
              <a:r>
                <a:rPr lang="pt-BR" dirty="0" err="1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IT´s</a:t>
              </a: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 amarelos com instruções nos slides</a:t>
              </a:r>
            </a:p>
            <a:p>
              <a:pPr marL="342900" indent="-342900">
                <a:lnSpc>
                  <a:spcPct val="80000"/>
                </a:lnSpc>
                <a:spcBef>
                  <a:spcPct val="20000"/>
                </a:spcBef>
                <a:spcAft>
                  <a:spcPct val="30000"/>
                </a:spcAft>
                <a:buFont typeface="Arial" panose="020B0604020202020204" pitchFamily="34" charset="0"/>
                <a:buChar char="•"/>
              </a:pP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Clique nas imagens dos slides para incluir o LOGOTIPO da sua empresa</a:t>
              </a:r>
            </a:p>
            <a:p>
              <a:pPr marL="342900" indent="-342900">
                <a:lnSpc>
                  <a:spcPct val="80000"/>
                </a:lnSpc>
                <a:spcBef>
                  <a:spcPct val="20000"/>
                </a:spcBef>
                <a:spcAft>
                  <a:spcPct val="30000"/>
                </a:spcAft>
                <a:buFont typeface="Arial" panose="020B0604020202020204" pitchFamily="34" charset="0"/>
                <a:buChar char="•"/>
              </a:pP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Lembre-se de deletar os POST-</a:t>
              </a:r>
              <a:r>
                <a:rPr lang="pt-BR" dirty="0" err="1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IT´s</a:t>
              </a: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 ao concluir a apresentação!</a:t>
              </a:r>
            </a:p>
            <a:p>
              <a:pPr>
                <a:lnSpc>
                  <a:spcPct val="80000"/>
                </a:lnSpc>
                <a:spcBef>
                  <a:spcPct val="20000"/>
                </a:spcBef>
                <a:spcAft>
                  <a:spcPct val="30000"/>
                </a:spcAft>
                <a:buFont typeface="Arial" charset="0"/>
                <a:buNone/>
              </a:pPr>
              <a:endParaRPr lang="pt-BR" b="1" dirty="0">
                <a:latin typeface="Gill Sans" pitchFamily="34" charset="0"/>
              </a:endParaRPr>
            </a:p>
            <a:p>
              <a:pPr>
                <a:buFont typeface="Arial" charset="0"/>
                <a:buChar char="•"/>
              </a:pPr>
              <a:endParaRPr lang="pt-BR" sz="1600" dirty="0">
                <a:latin typeface="Gill Sans" pitchFamily="34" charset="0"/>
              </a:endParaRPr>
            </a:p>
          </p:txBody>
        </p:sp>
        <p:sp>
          <p:nvSpPr>
            <p:cNvPr id="8" name="Rectangle 15"/>
            <p:cNvSpPr>
              <a:spLocks/>
            </p:cNvSpPr>
            <p:nvPr/>
          </p:nvSpPr>
          <p:spPr bwMode="auto">
            <a:xfrm>
              <a:off x="987622" y="6382219"/>
              <a:ext cx="7720006" cy="45665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t"/>
            <a:lstStyle/>
            <a:p>
              <a:r>
                <a:rPr lang="en-US" sz="2600" dirty="0" smtClean="0">
                  <a:solidFill>
                    <a:srgbClr val="C00000"/>
                  </a:solidFill>
                  <a:latin typeface="Gill Sans Light" pitchFamily="34" charset="0"/>
                  <a:sym typeface="Gill Sans Std"/>
                </a:rPr>
                <a:t>Este slide </a:t>
              </a:r>
              <a:r>
                <a:rPr lang="en-US" sz="2600" dirty="0" err="1" smtClean="0">
                  <a:solidFill>
                    <a:srgbClr val="C00000"/>
                  </a:solidFill>
                  <a:latin typeface="Gill Sans Light" pitchFamily="34" charset="0"/>
                  <a:sym typeface="Gill Sans Std"/>
                </a:rPr>
                <a:t>pode</a:t>
              </a:r>
              <a:r>
                <a:rPr lang="en-US" sz="2600" dirty="0" smtClean="0">
                  <a:solidFill>
                    <a:srgbClr val="C00000"/>
                  </a:solidFill>
                  <a:latin typeface="Gill Sans Light" pitchFamily="34" charset="0"/>
                  <a:sym typeface="Gill Sans Std"/>
                </a:rPr>
                <a:t> </a:t>
              </a:r>
              <a:r>
                <a:rPr lang="en-US" sz="2600" dirty="0" err="1" smtClean="0">
                  <a:solidFill>
                    <a:srgbClr val="C00000"/>
                  </a:solidFill>
                  <a:latin typeface="Gill Sans Light" pitchFamily="34" charset="0"/>
                  <a:sym typeface="Gill Sans Std"/>
                </a:rPr>
                <a:t>ser</a:t>
              </a:r>
              <a:r>
                <a:rPr lang="en-US" sz="2600" dirty="0" smtClean="0">
                  <a:solidFill>
                    <a:srgbClr val="C00000"/>
                  </a:solidFill>
                  <a:latin typeface="Gill Sans Light" pitchFamily="34" charset="0"/>
                  <a:sym typeface="Gill Sans Std"/>
                </a:rPr>
                <a:t> </a:t>
              </a:r>
              <a:r>
                <a:rPr lang="en-US" sz="2600" dirty="0" err="1" smtClean="0">
                  <a:solidFill>
                    <a:srgbClr val="C00000"/>
                  </a:solidFill>
                  <a:latin typeface="Gill Sans Light" pitchFamily="34" charset="0"/>
                  <a:sym typeface="Gill Sans Std"/>
                </a:rPr>
                <a:t>deletado</a:t>
              </a:r>
              <a:r>
                <a:rPr lang="en-US" sz="2600" dirty="0" smtClean="0">
                  <a:solidFill>
                    <a:srgbClr val="C00000"/>
                  </a:solidFill>
                  <a:latin typeface="Gill Sans Light" pitchFamily="34" charset="0"/>
                  <a:sym typeface="Gill Sans Std"/>
                </a:rPr>
                <a:t> </a:t>
              </a:r>
              <a:r>
                <a:rPr lang="en-US" sz="2600" dirty="0" err="1" smtClean="0">
                  <a:solidFill>
                    <a:srgbClr val="C00000"/>
                  </a:solidFill>
                  <a:latin typeface="Gill Sans Light" pitchFamily="34" charset="0"/>
                  <a:sym typeface="Gill Sans Std"/>
                </a:rPr>
                <a:t>ao</a:t>
              </a:r>
              <a:r>
                <a:rPr lang="en-US" sz="2600" dirty="0">
                  <a:solidFill>
                    <a:srgbClr val="C00000"/>
                  </a:solidFill>
                  <a:latin typeface="Gill Sans Light" pitchFamily="34" charset="0"/>
                  <a:sym typeface="Gill Sans Std"/>
                </a:rPr>
                <a:t> </a:t>
              </a:r>
              <a:r>
                <a:rPr lang="en-US" sz="2600" dirty="0" err="1" smtClean="0">
                  <a:solidFill>
                    <a:srgbClr val="C00000"/>
                  </a:solidFill>
                  <a:latin typeface="Gill Sans Light" pitchFamily="34" charset="0"/>
                  <a:sym typeface="Gill Sans Std"/>
                </a:rPr>
                <a:t>concluir</a:t>
              </a:r>
              <a:r>
                <a:rPr lang="en-US" sz="2600" dirty="0" smtClean="0">
                  <a:solidFill>
                    <a:srgbClr val="C00000"/>
                  </a:solidFill>
                  <a:latin typeface="Gill Sans Light" pitchFamily="34" charset="0"/>
                  <a:sym typeface="Gill Sans Std"/>
                </a:rPr>
                <a:t> o PPT</a:t>
              </a:r>
              <a:endParaRPr lang="en-US" sz="2600" dirty="0">
                <a:solidFill>
                  <a:srgbClr val="C00000"/>
                </a:solidFill>
                <a:latin typeface="Gill Sans Light" pitchFamily="34" charset="0"/>
                <a:sym typeface="Gill Sans Std"/>
              </a:endParaRPr>
            </a:p>
            <a:p>
              <a:endParaRPr lang="pt-BR" sz="2600" dirty="0">
                <a:solidFill>
                  <a:srgbClr val="C00000"/>
                </a:solidFill>
                <a:latin typeface="Gill Sans Light" pitchFamily="34" charset="0"/>
                <a:sym typeface="Gill Sans Std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83816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0" y="260648"/>
            <a:ext cx="8077200" cy="1600200"/>
          </a:xfrm>
          <a:prstGeom prst="rect">
            <a:avLst/>
          </a:prstGeom>
          <a:noFill/>
        </p:spPr>
      </p:pic>
      <p:sp>
        <p:nvSpPr>
          <p:cNvPr id="10" name="Retângulo 9"/>
          <p:cNvSpPr/>
          <p:nvPr/>
        </p:nvSpPr>
        <p:spPr>
          <a:xfrm>
            <a:off x="1" y="1844824"/>
            <a:ext cx="9144000" cy="3888432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sp>
        <p:nvSpPr>
          <p:cNvPr id="12" name="Retângulo 11"/>
          <p:cNvSpPr>
            <a:spLocks noChangeArrowheads="1"/>
          </p:cNvSpPr>
          <p:nvPr/>
        </p:nvSpPr>
        <p:spPr bwMode="auto">
          <a:xfrm>
            <a:off x="1162247" y="530650"/>
            <a:ext cx="6650113" cy="89255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t"/>
          <a:lstStyle/>
          <a:p>
            <a:r>
              <a:rPr lang="pt-BR" sz="2600" dirty="0" smtClean="0">
                <a:solidFill>
                  <a:schemeClr val="bg1"/>
                </a:solidFill>
                <a:latin typeface="Gill Sans Light" pitchFamily="34" charset="0"/>
              </a:rPr>
              <a:t>Onde queremos chegar com esta</a:t>
            </a:r>
          </a:p>
          <a:p>
            <a:r>
              <a:rPr lang="pt-BR" sz="2600" dirty="0" smtClean="0">
                <a:solidFill>
                  <a:schemeClr val="bg1"/>
                </a:solidFill>
                <a:latin typeface="Gill Sans Light" pitchFamily="34" charset="0"/>
              </a:rPr>
              <a:t>NOVA TI</a:t>
            </a:r>
            <a:endParaRPr lang="pt-BR" sz="2600" dirty="0">
              <a:solidFill>
                <a:schemeClr val="bg1"/>
              </a:solidFill>
              <a:latin typeface="Gill Sans Light" pitchFamily="34" charset="0"/>
            </a:endParaRPr>
          </a:p>
        </p:txBody>
      </p:sp>
      <p:graphicFrame>
        <p:nvGraphicFramePr>
          <p:cNvPr id="16" name="Diagrama 15"/>
          <p:cNvGraphicFramePr/>
          <p:nvPr>
            <p:extLst>
              <p:ext uri="{D42A27DB-BD31-4B8C-83A1-F6EECF244321}">
                <p14:modId xmlns:p14="http://schemas.microsoft.com/office/powerpoint/2010/main" val="1917043711"/>
              </p:ext>
            </p:extLst>
          </p:nvPr>
        </p:nvGraphicFramePr>
        <p:xfrm>
          <a:off x="179512" y="5805264"/>
          <a:ext cx="1391816" cy="1368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Retângulo 8"/>
          <p:cNvSpPr>
            <a:spLocks noChangeArrowheads="1"/>
          </p:cNvSpPr>
          <p:nvPr/>
        </p:nvSpPr>
        <p:spPr bwMode="auto">
          <a:xfrm>
            <a:off x="1138912" y="2299705"/>
            <a:ext cx="7658225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/>
            <a:r>
              <a:rPr lang="pt-BR" dirty="0" smtClean="0">
                <a:solidFill>
                  <a:srgbClr val="666666"/>
                </a:solidFill>
                <a:latin typeface="Gill Sans"/>
                <a:cs typeface="Times New Roman" pitchFamily="18" charset="0"/>
              </a:rPr>
              <a:t>Uma TI que esteja alinhada com os objetivos estratégicos da nossa empresa, </a:t>
            </a:r>
            <a:r>
              <a:rPr lang="pt-BR" dirty="0" smtClean="0">
                <a:solidFill>
                  <a:srgbClr val="666666"/>
                </a:solidFill>
                <a:latin typeface="Gill Sans"/>
                <a:cs typeface="Times New Roman" pitchFamily="18" charset="0"/>
              </a:rPr>
              <a:t>tornaremos </a:t>
            </a:r>
            <a:r>
              <a:rPr lang="pt-BR" dirty="0" smtClean="0">
                <a:solidFill>
                  <a:srgbClr val="666666"/>
                </a:solidFill>
                <a:latin typeface="Gill Sans"/>
                <a:cs typeface="Times New Roman" pitchFamily="18" charset="0"/>
              </a:rPr>
              <a:t>nosso negócio </a:t>
            </a:r>
            <a:r>
              <a:rPr lang="pt-BR" dirty="0">
                <a:solidFill>
                  <a:srgbClr val="C00000"/>
                </a:solidFill>
                <a:latin typeface="Gill Sans"/>
                <a:cs typeface="Times New Roman" pitchFamily="18" charset="0"/>
              </a:rPr>
              <a:t>mais ágil</a:t>
            </a:r>
            <a:r>
              <a:rPr lang="pt-BR" dirty="0">
                <a:solidFill>
                  <a:srgbClr val="E03E52"/>
                </a:solidFill>
                <a:latin typeface="Gill Sans"/>
                <a:cs typeface="Times New Roman" pitchFamily="18" charset="0"/>
              </a:rPr>
              <a:t>,  </a:t>
            </a:r>
            <a:r>
              <a:rPr lang="pt-BR" dirty="0">
                <a:solidFill>
                  <a:srgbClr val="666666"/>
                </a:solidFill>
                <a:latin typeface="Gill Sans"/>
                <a:cs typeface="Times New Roman" pitchFamily="18" charset="0"/>
              </a:rPr>
              <a:t>com </a:t>
            </a:r>
            <a:r>
              <a:rPr lang="pt-BR" dirty="0">
                <a:solidFill>
                  <a:srgbClr val="C00000"/>
                </a:solidFill>
                <a:latin typeface="Gill Sans"/>
                <a:cs typeface="Times New Roman" pitchFamily="18" charset="0"/>
              </a:rPr>
              <a:t>menor time </a:t>
            </a:r>
            <a:r>
              <a:rPr lang="pt-BR" dirty="0" err="1">
                <a:solidFill>
                  <a:srgbClr val="C00000"/>
                </a:solidFill>
                <a:latin typeface="Gill Sans"/>
                <a:cs typeface="Times New Roman" pitchFamily="18" charset="0"/>
              </a:rPr>
              <a:t>to</a:t>
            </a:r>
            <a:r>
              <a:rPr lang="pt-BR" dirty="0">
                <a:solidFill>
                  <a:srgbClr val="C00000"/>
                </a:solidFill>
                <a:latin typeface="Gill Sans"/>
                <a:cs typeface="Times New Roman" pitchFamily="18" charset="0"/>
              </a:rPr>
              <a:t> </a:t>
            </a:r>
            <a:r>
              <a:rPr lang="pt-BR" dirty="0" err="1">
                <a:solidFill>
                  <a:srgbClr val="C00000"/>
                </a:solidFill>
                <a:latin typeface="Gill Sans"/>
                <a:cs typeface="Times New Roman" pitchFamily="18" charset="0"/>
              </a:rPr>
              <a:t>market</a:t>
            </a:r>
            <a:r>
              <a:rPr lang="pt-BR" dirty="0">
                <a:solidFill>
                  <a:srgbClr val="E03E52"/>
                </a:solidFill>
                <a:latin typeface="Gill Sans"/>
                <a:cs typeface="Times New Roman" pitchFamily="18" charset="0"/>
              </a:rPr>
              <a:t>,  </a:t>
            </a:r>
            <a:r>
              <a:rPr lang="pt-BR" dirty="0" smtClean="0">
                <a:solidFill>
                  <a:srgbClr val="C00000"/>
                </a:solidFill>
                <a:latin typeface="Gill Sans"/>
                <a:cs typeface="Times New Roman" pitchFamily="18" charset="0"/>
              </a:rPr>
              <a:t>fomentaremos a inovação</a:t>
            </a:r>
            <a:r>
              <a:rPr lang="pt-BR" dirty="0" smtClean="0">
                <a:solidFill>
                  <a:srgbClr val="666666"/>
                </a:solidFill>
                <a:latin typeface="Gill Sans"/>
                <a:cs typeface="Times New Roman" pitchFamily="18" charset="0"/>
              </a:rPr>
              <a:t>, compartilharemos informações e </a:t>
            </a:r>
            <a:r>
              <a:rPr lang="pt-BR" dirty="0" smtClean="0">
                <a:solidFill>
                  <a:srgbClr val="C00000"/>
                </a:solidFill>
                <a:latin typeface="Gill Sans"/>
                <a:cs typeface="Times New Roman" pitchFamily="18" charset="0"/>
              </a:rPr>
              <a:t>conteúdos</a:t>
            </a:r>
            <a:r>
              <a:rPr lang="pt-BR" dirty="0" smtClean="0">
                <a:solidFill>
                  <a:srgbClr val="666666"/>
                </a:solidFill>
                <a:latin typeface="Gill Sans"/>
                <a:cs typeface="Times New Roman" pitchFamily="18" charset="0"/>
              </a:rPr>
              <a:t>, possibilitaremos </a:t>
            </a:r>
            <a:r>
              <a:rPr lang="pt-BR" dirty="0" err="1" smtClean="0">
                <a:solidFill>
                  <a:srgbClr val="C00000"/>
                </a:solidFill>
                <a:latin typeface="Gill Sans"/>
                <a:cs typeface="Times New Roman" pitchFamily="18" charset="0"/>
              </a:rPr>
              <a:t>co-criação</a:t>
            </a:r>
            <a:r>
              <a:rPr lang="pt-BR" dirty="0" smtClean="0">
                <a:solidFill>
                  <a:srgbClr val="C00000"/>
                </a:solidFill>
                <a:latin typeface="Gill Sans"/>
                <a:cs typeface="Times New Roman" pitchFamily="18" charset="0"/>
              </a:rPr>
              <a:t> e aprendizados</a:t>
            </a:r>
            <a:r>
              <a:rPr lang="pt-BR" dirty="0" smtClean="0">
                <a:solidFill>
                  <a:srgbClr val="666666"/>
                </a:solidFill>
                <a:latin typeface="Gill Sans"/>
                <a:cs typeface="Times New Roman" pitchFamily="18" charset="0"/>
              </a:rPr>
              <a:t> e abriremos enormes possibilidades de </a:t>
            </a:r>
            <a:r>
              <a:rPr lang="pt-BR" dirty="0" smtClean="0">
                <a:solidFill>
                  <a:srgbClr val="C00000"/>
                </a:solidFill>
                <a:latin typeface="Gill Sans"/>
                <a:cs typeface="Times New Roman" pitchFamily="18" charset="0"/>
              </a:rPr>
              <a:t>novas receitas, mercados, produtos e serviços!</a:t>
            </a:r>
            <a:endParaRPr lang="pt-BR" dirty="0">
              <a:solidFill>
                <a:srgbClr val="C00000"/>
              </a:solidFill>
              <a:latin typeface="Gill Sans"/>
              <a:cs typeface="Times New Roman" pitchFamily="18" charset="0"/>
            </a:endParaRPr>
          </a:p>
        </p:txBody>
      </p:sp>
      <p:sp>
        <p:nvSpPr>
          <p:cNvPr id="17" name="Texto explicativo retangular com cantos arredondados 16"/>
          <p:cNvSpPr/>
          <p:nvPr/>
        </p:nvSpPr>
        <p:spPr>
          <a:xfrm>
            <a:off x="6889536" y="512604"/>
            <a:ext cx="2507000" cy="1476235"/>
          </a:xfrm>
          <a:prstGeom prst="wedgeRoundRectCallout">
            <a:avLst>
              <a:gd name="adj1" fmla="val -147151"/>
              <a:gd name="adj2" fmla="val 80992"/>
              <a:gd name="adj3" fmla="val 16667"/>
            </a:avLst>
          </a:prstGeom>
          <a:solidFill>
            <a:srgbClr val="FFFF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 smtClean="0">
                <a:solidFill>
                  <a:schemeClr val="tx1"/>
                </a:solidFill>
              </a:rPr>
              <a:t>Se necessário atualize o </a:t>
            </a:r>
            <a:r>
              <a:rPr lang="pt-BR" b="1" dirty="0" smtClean="0">
                <a:solidFill>
                  <a:srgbClr val="FF0000"/>
                </a:solidFill>
              </a:rPr>
              <a:t>texto </a:t>
            </a:r>
            <a:r>
              <a:rPr lang="pt-BR" b="1" dirty="0" smtClean="0">
                <a:solidFill>
                  <a:schemeClr val="tx1"/>
                </a:solidFill>
              </a:rPr>
              <a:t>conforme sua estratégia</a:t>
            </a:r>
            <a:endParaRPr lang="pt-BR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926" name="Picture 15" descr="S16_Ma_1"/>
          <p:cNvPicPr>
            <a:picLocks noChangeAspect="1" noChangeArrowheads="1"/>
          </p:cNvPicPr>
          <p:nvPr/>
        </p:nvPicPr>
        <p:blipFill>
          <a:blip r:embed="rId8"/>
          <a:srcRect l="5902" t="19560" r="39757" b="41597"/>
          <a:stretch>
            <a:fillRect/>
          </a:stretch>
        </p:blipFill>
        <p:spPr bwMode="auto">
          <a:xfrm>
            <a:off x="898525" y="1341438"/>
            <a:ext cx="4968875" cy="266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6915" name="Picture 26" descr="SlopeChart_080911_2 copy 4"/>
          <p:cNvPicPr>
            <a:picLocks noChangeAspect="1" noChangeArrowheads="1"/>
          </p:cNvPicPr>
          <p:nvPr/>
        </p:nvPicPr>
        <p:blipFill>
          <a:blip r:embed="rId9"/>
          <a:srcRect l="1257" t="50166" r="94897" b="18015"/>
          <a:stretch>
            <a:fillRect/>
          </a:stretch>
        </p:blipFill>
        <p:spPr bwMode="auto">
          <a:xfrm>
            <a:off x="712788" y="4225925"/>
            <a:ext cx="325437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6916" name="Picture 26" descr="SlopeChart_080911_2 copy 4"/>
          <p:cNvPicPr>
            <a:picLocks noChangeAspect="1" noChangeArrowheads="1"/>
          </p:cNvPicPr>
          <p:nvPr/>
        </p:nvPicPr>
        <p:blipFill>
          <a:blip r:embed="rId9"/>
          <a:srcRect l="15311" t="38464" r="78723" b="29716"/>
          <a:stretch>
            <a:fillRect/>
          </a:stretch>
        </p:blipFill>
        <p:spPr bwMode="auto">
          <a:xfrm>
            <a:off x="1901825" y="3722688"/>
            <a:ext cx="504825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6917" name="Picture 26" descr="SlopeChart_080911_2 copy 4"/>
          <p:cNvPicPr>
            <a:picLocks noChangeAspect="1" noChangeArrowheads="1"/>
          </p:cNvPicPr>
          <p:nvPr/>
        </p:nvPicPr>
        <p:blipFill>
          <a:blip r:embed="rId9"/>
          <a:srcRect l="30638" t="23404" r="60863" b="43115"/>
          <a:stretch>
            <a:fillRect/>
          </a:stretch>
        </p:blipFill>
        <p:spPr bwMode="auto">
          <a:xfrm>
            <a:off x="3198813" y="3074988"/>
            <a:ext cx="719137" cy="143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6918" name="Picture 26" descr="SlopeChart_080911_2 copy 4"/>
          <p:cNvPicPr>
            <a:picLocks noChangeAspect="1" noChangeArrowheads="1"/>
          </p:cNvPicPr>
          <p:nvPr/>
        </p:nvPicPr>
        <p:blipFill>
          <a:blip r:embed="rId9"/>
          <a:srcRect l="45778" t="9117" r="44429" b="55482"/>
          <a:stretch>
            <a:fillRect/>
          </a:stretch>
        </p:blipFill>
        <p:spPr bwMode="auto">
          <a:xfrm>
            <a:off x="4479925" y="2460625"/>
            <a:ext cx="828675" cy="152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6919" name="Picture 26" descr="SlopeChart_080911_2 copy 4"/>
          <p:cNvPicPr>
            <a:picLocks noChangeAspect="1" noChangeArrowheads="1"/>
          </p:cNvPicPr>
          <p:nvPr/>
        </p:nvPicPr>
        <p:blipFill>
          <a:blip r:embed="rId9"/>
          <a:srcRect l="60562" r="27261" b="68808"/>
          <a:stretch>
            <a:fillRect/>
          </a:stretch>
        </p:blipFill>
        <p:spPr bwMode="auto">
          <a:xfrm>
            <a:off x="5730875" y="2068513"/>
            <a:ext cx="1030288" cy="1341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6920" name="Picture 9" descr="S16_Ma_2"/>
          <p:cNvPicPr>
            <a:picLocks noChangeAspect="1" noChangeArrowheads="1"/>
          </p:cNvPicPr>
          <p:nvPr/>
        </p:nvPicPr>
        <p:blipFill>
          <a:blip r:embed="rId10"/>
          <a:srcRect l="5902" t="35301" r="694"/>
          <a:stretch>
            <a:fillRect/>
          </a:stretch>
        </p:blipFill>
        <p:spPr bwMode="auto">
          <a:xfrm>
            <a:off x="603250" y="2370138"/>
            <a:ext cx="8540750" cy="4437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6921" name="TextBox 4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46613" y="2676525"/>
            <a:ext cx="114935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 smtClean="0">
                <a:solidFill>
                  <a:srgbClr val="666666"/>
                </a:solidFill>
                <a:latin typeface="Gill Sans MT" pitchFamily="34" charset="0"/>
                <a:ea typeface="MS PGothic"/>
                <a:cs typeface="MS PGothic"/>
              </a:rPr>
              <a:t>Conectando</a:t>
            </a:r>
            <a:endParaRPr lang="en-US" sz="1200" b="1" dirty="0">
              <a:solidFill>
                <a:srgbClr val="666666"/>
              </a:solidFill>
              <a:latin typeface="Gill Sans MT" pitchFamily="34" charset="0"/>
              <a:ea typeface="MS PGothic"/>
              <a:cs typeface="MS PGothic"/>
            </a:endParaRPr>
          </a:p>
        </p:txBody>
      </p:sp>
      <p:sp>
        <p:nvSpPr>
          <p:cNvPr id="166922" name="TextBox 4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03600" y="3300413"/>
            <a:ext cx="143351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400" b="1" dirty="0" smtClean="0">
                <a:solidFill>
                  <a:srgbClr val="666666"/>
                </a:solidFill>
                <a:latin typeface="Gill Sans MT" pitchFamily="34" charset="0"/>
                <a:ea typeface="MS PGothic"/>
                <a:cs typeface="MS PGothic"/>
              </a:rPr>
              <a:t>Experimentando</a:t>
            </a:r>
            <a:endParaRPr lang="en-US" sz="1400" b="1" dirty="0">
              <a:solidFill>
                <a:srgbClr val="666666"/>
              </a:solidFill>
              <a:latin typeface="Gill Sans MT" pitchFamily="34" charset="0"/>
              <a:ea typeface="MS PGothic"/>
              <a:cs typeface="MS PGothic"/>
            </a:endParaRPr>
          </a:p>
        </p:txBody>
      </p:sp>
      <p:sp>
        <p:nvSpPr>
          <p:cNvPr id="166923" name="TextBox 4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135188" y="3960813"/>
            <a:ext cx="111601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400" b="1" dirty="0" smtClean="0">
                <a:solidFill>
                  <a:srgbClr val="666666"/>
                </a:solidFill>
                <a:latin typeface="Gill Sans MT" pitchFamily="34" charset="0"/>
                <a:ea typeface="MS PGothic"/>
                <a:cs typeface="MS PGothic"/>
              </a:rPr>
              <a:t>Organizando</a:t>
            </a:r>
            <a:endParaRPr lang="pt-BR" sz="1400" b="1" dirty="0">
              <a:solidFill>
                <a:srgbClr val="666666"/>
              </a:solidFill>
              <a:latin typeface="Gill Sans MT" pitchFamily="34" charset="0"/>
              <a:ea typeface="MS PGothic"/>
              <a:cs typeface="MS PGothic"/>
            </a:endParaRPr>
          </a:p>
        </p:txBody>
      </p:sp>
      <p:sp>
        <p:nvSpPr>
          <p:cNvPr id="166924" name="TextBox 4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2488" y="4495800"/>
            <a:ext cx="114141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400" b="1" dirty="0" smtClean="0">
                <a:solidFill>
                  <a:srgbClr val="666666"/>
                </a:solidFill>
                <a:latin typeface="Gill Sans MT" pitchFamily="34" charset="0"/>
                <a:ea typeface="MS PGothic"/>
                <a:cs typeface="MS PGothic"/>
              </a:rPr>
              <a:t>Avaliando</a:t>
            </a:r>
            <a:endParaRPr lang="pt-BR" sz="1400" b="1" dirty="0">
              <a:solidFill>
                <a:srgbClr val="666666"/>
              </a:solidFill>
              <a:latin typeface="Gill Sans MT" pitchFamily="34" charset="0"/>
              <a:ea typeface="MS PGothic"/>
              <a:cs typeface="MS PGothic"/>
            </a:endParaRPr>
          </a:p>
        </p:txBody>
      </p:sp>
      <p:sp>
        <p:nvSpPr>
          <p:cNvPr id="166925" name="TextBox 43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921375" y="2268538"/>
            <a:ext cx="26114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666666"/>
                </a:solidFill>
                <a:latin typeface="Gill Sans MT" pitchFamily="34" charset="0"/>
                <a:ea typeface="MS PGothic"/>
                <a:cs typeface="MS PGothic"/>
              </a:rPr>
              <a:t>Transformando</a:t>
            </a:r>
            <a:endParaRPr lang="en-US" sz="1400" b="1" dirty="0">
              <a:solidFill>
                <a:srgbClr val="666666"/>
              </a:solidFill>
              <a:latin typeface="Gill Sans MT" pitchFamily="34" charset="0"/>
              <a:ea typeface="MS PGothic"/>
              <a:cs typeface="MS PGothic"/>
            </a:endParaRPr>
          </a:p>
        </p:txBody>
      </p:sp>
      <p:sp>
        <p:nvSpPr>
          <p:cNvPr id="166927" name="Rectangle 2"/>
          <p:cNvSpPr>
            <a:spLocks noChangeArrowheads="1"/>
          </p:cNvSpPr>
          <p:nvPr/>
        </p:nvSpPr>
        <p:spPr bwMode="auto">
          <a:xfrm>
            <a:off x="969963" y="211138"/>
            <a:ext cx="648017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pt-BR" sz="2200" dirty="0" smtClean="0">
                <a:solidFill>
                  <a:schemeClr val="tx2">
                    <a:lumMod val="50000"/>
                  </a:schemeClr>
                </a:solidFill>
                <a:latin typeface="Gill Sans" pitchFamily="34" charset="0"/>
              </a:rPr>
              <a:t>...Isto só será possível com a evolução destes pilares e principalmente do apoio da Liderança e de todos os colaboradores!</a:t>
            </a:r>
            <a:endParaRPr lang="pt-BR" sz="2200" dirty="0">
              <a:solidFill>
                <a:schemeClr val="tx2">
                  <a:lumMod val="50000"/>
                </a:schemeClr>
              </a:solidFill>
              <a:latin typeface="Gill Sans" pitchFamily="34" charset="0"/>
            </a:endParaRPr>
          </a:p>
        </p:txBody>
      </p:sp>
      <p:grpSp>
        <p:nvGrpSpPr>
          <p:cNvPr id="166929" name="Grupo 172"/>
          <p:cNvGrpSpPr>
            <a:grpSpLocks/>
          </p:cNvGrpSpPr>
          <p:nvPr/>
        </p:nvGrpSpPr>
        <p:grpSpPr bwMode="auto">
          <a:xfrm rot="5400000">
            <a:off x="8973344" y="6166644"/>
            <a:ext cx="187325" cy="125413"/>
            <a:chOff x="462555" y="4713838"/>
            <a:chExt cx="187522" cy="125499"/>
          </a:xfrm>
        </p:grpSpPr>
        <p:cxnSp>
          <p:nvCxnSpPr>
            <p:cNvPr id="168" name="Conector reto 167"/>
            <p:cNvCxnSpPr/>
            <p:nvPr/>
          </p:nvCxnSpPr>
          <p:spPr>
            <a:xfrm>
              <a:off x="567440" y="4736078"/>
              <a:ext cx="82637" cy="103259"/>
            </a:xfrm>
            <a:prstGeom prst="line">
              <a:avLst/>
            </a:prstGeom>
            <a:ln w="38100">
              <a:solidFill>
                <a:srgbClr val="85858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Conector reto 169"/>
            <p:cNvCxnSpPr/>
            <p:nvPr/>
          </p:nvCxnSpPr>
          <p:spPr>
            <a:xfrm flipH="1">
              <a:off x="462555" y="4713838"/>
              <a:ext cx="108064" cy="122322"/>
            </a:xfrm>
            <a:prstGeom prst="line">
              <a:avLst/>
            </a:prstGeom>
            <a:ln w="38100">
              <a:solidFill>
                <a:srgbClr val="85858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6930" name="Grupo 173"/>
          <p:cNvGrpSpPr>
            <a:grpSpLocks/>
          </p:cNvGrpSpPr>
          <p:nvPr/>
        </p:nvGrpSpPr>
        <p:grpSpPr bwMode="auto">
          <a:xfrm>
            <a:off x="639763" y="1484313"/>
            <a:ext cx="187325" cy="125412"/>
            <a:chOff x="462555" y="4713838"/>
            <a:chExt cx="187522" cy="125499"/>
          </a:xfrm>
        </p:grpSpPr>
        <p:cxnSp>
          <p:nvCxnSpPr>
            <p:cNvPr id="175" name="Conector reto 174"/>
            <p:cNvCxnSpPr/>
            <p:nvPr/>
          </p:nvCxnSpPr>
          <p:spPr>
            <a:xfrm>
              <a:off x="567440" y="4736078"/>
              <a:ext cx="82637" cy="103259"/>
            </a:xfrm>
            <a:prstGeom prst="line">
              <a:avLst/>
            </a:prstGeom>
            <a:ln w="38100">
              <a:solidFill>
                <a:srgbClr val="85858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Conector reto 175"/>
            <p:cNvCxnSpPr/>
            <p:nvPr/>
          </p:nvCxnSpPr>
          <p:spPr>
            <a:xfrm flipH="1">
              <a:off x="462555" y="4713838"/>
              <a:ext cx="108064" cy="122322"/>
            </a:xfrm>
            <a:prstGeom prst="line">
              <a:avLst/>
            </a:prstGeom>
            <a:ln w="38100">
              <a:solidFill>
                <a:srgbClr val="85858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6931" name="Rectangle 19"/>
          <p:cNvSpPr>
            <a:spLocks noChangeArrowheads="1"/>
          </p:cNvSpPr>
          <p:nvPr/>
        </p:nvSpPr>
        <p:spPr bwMode="auto">
          <a:xfrm>
            <a:off x="8129588" y="6280150"/>
            <a:ext cx="8191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" pitchFamily="2" charset="2"/>
              <a:buNone/>
            </a:pPr>
            <a:r>
              <a:rPr lang="pt-BR" sz="1200" b="1">
                <a:solidFill>
                  <a:srgbClr val="666666"/>
                </a:solidFill>
                <a:latin typeface="Gill Sans MT" pitchFamily="34" charset="0"/>
                <a:ea typeface="MS PGothic"/>
                <a:cs typeface="MS PGothic"/>
              </a:rPr>
              <a:t>Maturidade</a:t>
            </a:r>
            <a:endParaRPr lang="en-US" sz="1200" b="1">
              <a:solidFill>
                <a:srgbClr val="666666"/>
              </a:solidFill>
              <a:latin typeface="Gill Sans MT" pitchFamily="34" charset="0"/>
              <a:ea typeface="MS PGothic"/>
              <a:cs typeface="MS PGothic"/>
            </a:endParaRPr>
          </a:p>
        </p:txBody>
      </p:sp>
      <p:sp>
        <p:nvSpPr>
          <p:cNvPr id="166932" name="Rectangle 18"/>
          <p:cNvSpPr>
            <a:spLocks noChangeArrowheads="1"/>
          </p:cNvSpPr>
          <p:nvPr/>
        </p:nvSpPr>
        <p:spPr bwMode="auto">
          <a:xfrm rot="-5400000">
            <a:off x="-729456" y="2969419"/>
            <a:ext cx="2693988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" pitchFamily="2" charset="2"/>
              <a:buNone/>
            </a:pPr>
            <a:r>
              <a:rPr lang="en-US" sz="1200" b="1">
                <a:solidFill>
                  <a:srgbClr val="666666"/>
                </a:solidFill>
                <a:latin typeface="Gill Sans MT" pitchFamily="34" charset="0"/>
                <a:ea typeface="MS PGothic"/>
                <a:cs typeface="MS PGothic"/>
              </a:rPr>
              <a:t>Valor</a:t>
            </a:r>
          </a:p>
        </p:txBody>
      </p:sp>
      <p:grpSp>
        <p:nvGrpSpPr>
          <p:cNvPr id="166964" name="Group 52"/>
          <p:cNvGrpSpPr>
            <a:grpSpLocks/>
          </p:cNvGrpSpPr>
          <p:nvPr/>
        </p:nvGrpSpPr>
        <p:grpSpPr bwMode="auto">
          <a:xfrm>
            <a:off x="827088" y="4791075"/>
            <a:ext cx="3535362" cy="725488"/>
            <a:chOff x="521" y="3018"/>
            <a:chExt cx="2227" cy="457"/>
          </a:xfrm>
        </p:grpSpPr>
        <p:pic>
          <p:nvPicPr>
            <p:cNvPr id="166959" name="Picture 47" descr="S16_Ma_1"/>
            <p:cNvPicPr>
              <a:picLocks noChangeAspect="1" noChangeArrowheads="1"/>
            </p:cNvPicPr>
            <p:nvPr/>
          </p:nvPicPr>
          <p:blipFill>
            <a:blip r:embed="rId11"/>
            <a:srcRect l="9045" t="69861" r="61789" b="19560"/>
            <a:stretch>
              <a:fillRect/>
            </a:stretch>
          </p:blipFill>
          <p:spPr bwMode="auto">
            <a:xfrm>
              <a:off x="521" y="3018"/>
              <a:ext cx="1680" cy="457"/>
            </a:xfrm>
            <a:prstGeom prst="rect">
              <a:avLst/>
            </a:prstGeom>
            <a:noFill/>
          </p:spPr>
        </p:pic>
        <p:sp>
          <p:nvSpPr>
            <p:cNvPr id="166948" name="Rounded Rectangle 120831"/>
            <p:cNvSpPr>
              <a:spLocks noChangeArrowheads="1"/>
            </p:cNvSpPr>
            <p:nvPr/>
          </p:nvSpPr>
          <p:spPr bwMode="auto">
            <a:xfrm>
              <a:off x="555" y="3106"/>
              <a:ext cx="2193" cy="181"/>
            </a:xfrm>
            <a:prstGeom prst="roundRect">
              <a:avLst>
                <a:gd name="adj" fmla="val 16667"/>
              </a:avLst>
            </a:prstGeom>
            <a:noFill/>
            <a:ln w="254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  <a:latin typeface="Gill Sans MT" pitchFamily="34" charset="0"/>
                </a:rPr>
                <a:t>Situação</a:t>
              </a:r>
              <a:r>
                <a:rPr lang="en-US" sz="1400" dirty="0" smtClean="0">
                  <a:solidFill>
                    <a:srgbClr val="FFFFFF"/>
                  </a:solidFill>
                  <a:latin typeface="Gill Sans MT" pitchFamily="34" charset="0"/>
                </a:rPr>
                <a:t> </a:t>
              </a:r>
              <a:r>
                <a:rPr lang="en-US" sz="1400" dirty="0" err="1" smtClean="0">
                  <a:solidFill>
                    <a:srgbClr val="FFFFFF"/>
                  </a:solidFill>
                  <a:latin typeface="Gill Sans MT" pitchFamily="34" charset="0"/>
                </a:rPr>
                <a:t>atual</a:t>
              </a:r>
              <a:r>
                <a:rPr lang="en-US" sz="1400" dirty="0" smtClean="0">
                  <a:solidFill>
                    <a:srgbClr val="FFFFFF"/>
                  </a:solidFill>
                  <a:latin typeface="Gill Sans MT" pitchFamily="34" charset="0"/>
                </a:rPr>
                <a:t>  e </a:t>
              </a:r>
              <a:r>
                <a:rPr lang="en-US" sz="1400" dirty="0" err="1" smtClean="0">
                  <a:solidFill>
                    <a:srgbClr val="FFFFFF"/>
                  </a:solidFill>
                  <a:latin typeface="Gill Sans MT" pitchFamily="34" charset="0"/>
                </a:rPr>
                <a:t>oportunidades</a:t>
              </a:r>
              <a:endParaRPr lang="en-US" sz="1400" dirty="0">
                <a:solidFill>
                  <a:srgbClr val="FFFFFF"/>
                </a:solidFill>
                <a:latin typeface="Gill Sans MT" pitchFamily="34" charset="0"/>
              </a:endParaRPr>
            </a:p>
          </p:txBody>
        </p:sp>
      </p:grpSp>
      <p:grpSp>
        <p:nvGrpSpPr>
          <p:cNvPr id="166965" name="Group 53"/>
          <p:cNvGrpSpPr>
            <a:grpSpLocks/>
          </p:cNvGrpSpPr>
          <p:nvPr/>
        </p:nvGrpSpPr>
        <p:grpSpPr bwMode="auto">
          <a:xfrm>
            <a:off x="2184400" y="4230688"/>
            <a:ext cx="3430588" cy="579437"/>
            <a:chOff x="1376" y="2665"/>
            <a:chExt cx="2161" cy="365"/>
          </a:xfrm>
        </p:grpSpPr>
        <p:pic>
          <p:nvPicPr>
            <p:cNvPr id="166961" name="Picture 49" descr="S16_Ma_1"/>
            <p:cNvPicPr>
              <a:picLocks noChangeAspect="1" noChangeArrowheads="1"/>
            </p:cNvPicPr>
            <p:nvPr/>
          </p:nvPicPr>
          <p:blipFill>
            <a:blip r:embed="rId11"/>
            <a:srcRect l="23889" t="61690" r="39548" b="29861"/>
            <a:stretch>
              <a:fillRect/>
            </a:stretch>
          </p:blipFill>
          <p:spPr bwMode="auto">
            <a:xfrm>
              <a:off x="1376" y="2665"/>
              <a:ext cx="2106" cy="365"/>
            </a:xfrm>
            <a:prstGeom prst="rect">
              <a:avLst/>
            </a:prstGeom>
            <a:noFill/>
          </p:spPr>
        </p:pic>
        <p:sp>
          <p:nvSpPr>
            <p:cNvPr id="166946" name="Rounded Rectangle 120831"/>
            <p:cNvSpPr>
              <a:spLocks noChangeArrowheads="1"/>
            </p:cNvSpPr>
            <p:nvPr/>
          </p:nvSpPr>
          <p:spPr bwMode="auto">
            <a:xfrm>
              <a:off x="1405" y="2746"/>
              <a:ext cx="2132" cy="181"/>
            </a:xfrm>
            <a:prstGeom prst="roundRect">
              <a:avLst>
                <a:gd name="adj" fmla="val 16667"/>
              </a:avLst>
            </a:prstGeom>
            <a:noFill/>
            <a:ln w="254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r>
                <a:rPr lang="pt-BR" sz="1400" dirty="0" smtClean="0">
                  <a:solidFill>
                    <a:srgbClr val="FFFFFF"/>
                  </a:solidFill>
                  <a:latin typeface="Gill Sans MT" pitchFamily="34" charset="0"/>
                </a:rPr>
                <a:t>Processos, Soluções e Pessoas</a:t>
              </a:r>
              <a:endParaRPr lang="en-US" sz="1400" dirty="0">
                <a:solidFill>
                  <a:srgbClr val="FFFFFF"/>
                </a:solidFill>
                <a:latin typeface="Gill Sans MT" pitchFamily="34" charset="0"/>
              </a:endParaRPr>
            </a:p>
          </p:txBody>
        </p:sp>
      </p:grpSp>
      <p:grpSp>
        <p:nvGrpSpPr>
          <p:cNvPr id="166966" name="Group 54"/>
          <p:cNvGrpSpPr>
            <a:grpSpLocks/>
          </p:cNvGrpSpPr>
          <p:nvPr/>
        </p:nvGrpSpPr>
        <p:grpSpPr bwMode="auto">
          <a:xfrm>
            <a:off x="3440113" y="3659188"/>
            <a:ext cx="3363912" cy="577850"/>
            <a:chOff x="2167" y="2305"/>
            <a:chExt cx="2119" cy="364"/>
          </a:xfrm>
        </p:grpSpPr>
        <p:pic>
          <p:nvPicPr>
            <p:cNvPr id="166962" name="Picture 50" descr="S16_Ma_1"/>
            <p:cNvPicPr>
              <a:picLocks noChangeAspect="1" noChangeArrowheads="1"/>
            </p:cNvPicPr>
            <p:nvPr/>
          </p:nvPicPr>
          <p:blipFill>
            <a:blip r:embed="rId11"/>
            <a:srcRect l="37622" t="53357" r="30469" b="38217"/>
            <a:stretch>
              <a:fillRect/>
            </a:stretch>
          </p:blipFill>
          <p:spPr bwMode="auto">
            <a:xfrm>
              <a:off x="2167" y="2305"/>
              <a:ext cx="1838" cy="364"/>
            </a:xfrm>
            <a:prstGeom prst="rect">
              <a:avLst/>
            </a:prstGeom>
            <a:noFill/>
          </p:spPr>
        </p:pic>
        <p:sp>
          <p:nvSpPr>
            <p:cNvPr id="166944" name="Rounded Rectangle 120831"/>
            <p:cNvSpPr>
              <a:spLocks noChangeArrowheads="1"/>
            </p:cNvSpPr>
            <p:nvPr/>
          </p:nvSpPr>
          <p:spPr bwMode="auto">
            <a:xfrm>
              <a:off x="2200" y="2386"/>
              <a:ext cx="2086" cy="181"/>
            </a:xfrm>
            <a:prstGeom prst="roundRect">
              <a:avLst>
                <a:gd name="adj" fmla="val 16667"/>
              </a:avLst>
            </a:prstGeom>
            <a:noFill/>
            <a:ln w="254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400" dirty="0" smtClean="0">
                  <a:solidFill>
                    <a:srgbClr val="FFFFFF"/>
                  </a:solidFill>
                  <a:latin typeface="Gill Sans MT" pitchFamily="34" charset="0"/>
                </a:rPr>
                <a:t>Novas possibilidades e experiências</a:t>
              </a:r>
              <a:endParaRPr lang="en-US" sz="1400" dirty="0">
                <a:solidFill>
                  <a:srgbClr val="FFFFFF"/>
                </a:solidFill>
                <a:latin typeface="Gill Sans MT" pitchFamily="34" charset="0"/>
              </a:endParaRPr>
            </a:p>
          </p:txBody>
        </p:sp>
      </p:grpSp>
      <p:grpSp>
        <p:nvGrpSpPr>
          <p:cNvPr id="166967" name="Group 55"/>
          <p:cNvGrpSpPr>
            <a:grpSpLocks/>
          </p:cNvGrpSpPr>
          <p:nvPr/>
        </p:nvGrpSpPr>
        <p:grpSpPr bwMode="auto">
          <a:xfrm>
            <a:off x="4681537" y="3071813"/>
            <a:ext cx="3448051" cy="592137"/>
            <a:chOff x="2949" y="1935"/>
            <a:chExt cx="2112" cy="373"/>
          </a:xfrm>
        </p:grpSpPr>
        <p:pic>
          <p:nvPicPr>
            <p:cNvPr id="166963" name="Picture 51" descr="S16_Ma_1"/>
            <p:cNvPicPr>
              <a:picLocks noChangeAspect="1" noChangeArrowheads="1"/>
            </p:cNvPicPr>
            <p:nvPr/>
          </p:nvPicPr>
          <p:blipFill>
            <a:blip r:embed="rId11"/>
            <a:srcRect l="51198" t="44791" r="18646" b="46574"/>
            <a:stretch>
              <a:fillRect/>
            </a:stretch>
          </p:blipFill>
          <p:spPr bwMode="auto">
            <a:xfrm>
              <a:off x="2949" y="1935"/>
              <a:ext cx="2112" cy="373"/>
            </a:xfrm>
            <a:prstGeom prst="rect">
              <a:avLst/>
            </a:prstGeom>
            <a:noFill/>
          </p:spPr>
        </p:pic>
        <p:sp>
          <p:nvSpPr>
            <p:cNvPr id="166942" name="Rounded Rectangle 120831"/>
            <p:cNvSpPr>
              <a:spLocks noChangeArrowheads="1"/>
            </p:cNvSpPr>
            <p:nvPr/>
          </p:nvSpPr>
          <p:spPr bwMode="auto">
            <a:xfrm>
              <a:off x="2981" y="2026"/>
              <a:ext cx="2041" cy="181"/>
            </a:xfrm>
            <a:prstGeom prst="roundRect">
              <a:avLst>
                <a:gd name="adj" fmla="val 16667"/>
              </a:avLst>
            </a:prstGeom>
            <a:noFill/>
            <a:ln w="254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400" dirty="0" smtClean="0">
                  <a:solidFill>
                    <a:srgbClr val="FFFFFF"/>
                  </a:solidFill>
                  <a:latin typeface="Gill Sans MT" pitchFamily="34" charset="0"/>
                </a:rPr>
                <a:t>Pessoas, produtos e serviços</a:t>
              </a:r>
              <a:endParaRPr lang="en-US" sz="1400" dirty="0">
                <a:solidFill>
                  <a:srgbClr val="FFFFFF"/>
                </a:solidFill>
                <a:latin typeface="Gill Sans MT" pitchFamily="34" charset="0"/>
              </a:endParaRPr>
            </a:p>
          </p:txBody>
        </p:sp>
      </p:grpSp>
      <p:grpSp>
        <p:nvGrpSpPr>
          <p:cNvPr id="166968" name="Group 56"/>
          <p:cNvGrpSpPr>
            <a:grpSpLocks/>
          </p:cNvGrpSpPr>
          <p:nvPr/>
        </p:nvGrpSpPr>
        <p:grpSpPr bwMode="auto">
          <a:xfrm>
            <a:off x="5978525" y="2511425"/>
            <a:ext cx="3165475" cy="579438"/>
            <a:chOff x="3766" y="1582"/>
            <a:chExt cx="1994" cy="365"/>
          </a:xfrm>
        </p:grpSpPr>
        <p:pic>
          <p:nvPicPr>
            <p:cNvPr id="166960" name="Picture 48" descr="S16_Ma_1"/>
            <p:cNvPicPr>
              <a:picLocks noChangeAspect="1" noChangeArrowheads="1"/>
            </p:cNvPicPr>
            <p:nvPr/>
          </p:nvPicPr>
          <p:blipFill>
            <a:blip r:embed="rId11"/>
            <a:srcRect l="65382" t="36621" b="54930"/>
            <a:stretch>
              <a:fillRect/>
            </a:stretch>
          </p:blipFill>
          <p:spPr bwMode="auto">
            <a:xfrm>
              <a:off x="3766" y="1582"/>
              <a:ext cx="1994" cy="365"/>
            </a:xfrm>
            <a:prstGeom prst="rect">
              <a:avLst/>
            </a:prstGeom>
            <a:noFill/>
          </p:spPr>
        </p:pic>
        <p:sp>
          <p:nvSpPr>
            <p:cNvPr id="166940" name="Rounded Rectangle 120831"/>
            <p:cNvSpPr>
              <a:spLocks noChangeArrowheads="1"/>
            </p:cNvSpPr>
            <p:nvPr/>
          </p:nvSpPr>
          <p:spPr bwMode="auto">
            <a:xfrm>
              <a:off x="3790" y="1667"/>
              <a:ext cx="1542" cy="180"/>
            </a:xfrm>
            <a:prstGeom prst="roundRect">
              <a:avLst>
                <a:gd name="adj" fmla="val 16667"/>
              </a:avLst>
            </a:prstGeom>
            <a:noFill/>
            <a:ln w="254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400" dirty="0" smtClean="0">
                  <a:solidFill>
                    <a:srgbClr val="FFFFFF"/>
                  </a:solidFill>
                  <a:latin typeface="Gill Sans MT" pitchFamily="34" charset="0"/>
                </a:rPr>
                <a:t>Através de Tecnologias e Processos sustentáveis</a:t>
              </a:r>
              <a:endParaRPr lang="en-US" sz="1400" dirty="0">
                <a:solidFill>
                  <a:srgbClr val="FFFFFF"/>
                </a:solidFill>
                <a:latin typeface="Gill Sans MT" pitchFamily="34" charset="0"/>
              </a:endParaRPr>
            </a:p>
          </p:txBody>
        </p:sp>
      </p:grpSp>
      <p:sp>
        <p:nvSpPr>
          <p:cNvPr id="2" name="Retângulo de cantos arredondados 1"/>
          <p:cNvSpPr/>
          <p:nvPr/>
        </p:nvSpPr>
        <p:spPr>
          <a:xfrm>
            <a:off x="1187624" y="5805264"/>
            <a:ext cx="7553151" cy="33042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smtClean="0">
                <a:latin typeface="Gill Sans MT" pitchFamily="34" charset="0"/>
              </a:rPr>
              <a:t>Transformação do Negócio</a:t>
            </a:r>
            <a:endParaRPr lang="pt-BR" sz="1400" dirty="0">
              <a:latin typeface="Gill Sans MT" pitchFamily="34" charset="0"/>
            </a:endParaRPr>
          </a:p>
        </p:txBody>
      </p:sp>
      <p:sp>
        <p:nvSpPr>
          <p:cNvPr id="43" name="TextBox 4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277153" y="1614528"/>
            <a:ext cx="1727147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/>
            <a:contourClr>
              <a:srgbClr val="FFFFFF"/>
            </a:contourClr>
          </a:sp3d>
        </p:spPr>
        <p:txBody>
          <a:bodyPr wrap="squar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C00000"/>
                </a:solidFill>
                <a:latin typeface="Gill Sans MT" pitchFamily="34" charset="0"/>
                <a:ea typeface="MS PGothic"/>
                <a:cs typeface="MS PGothic"/>
              </a:rPr>
              <a:t>NOVA EMPRESA</a:t>
            </a:r>
            <a:endParaRPr lang="en-US" b="1" dirty="0">
              <a:solidFill>
                <a:srgbClr val="C00000"/>
              </a:solidFill>
              <a:latin typeface="Gill Sans MT" pitchFamily="34" charset="0"/>
              <a:ea typeface="MS PGothic"/>
              <a:cs typeface="MS PGothic"/>
            </a:endParaRPr>
          </a:p>
        </p:txBody>
      </p:sp>
      <p:sp>
        <p:nvSpPr>
          <p:cNvPr id="45" name="Texto explicativo retangular com cantos arredondados 44"/>
          <p:cNvSpPr/>
          <p:nvPr/>
        </p:nvSpPr>
        <p:spPr>
          <a:xfrm>
            <a:off x="6948264" y="-27384"/>
            <a:ext cx="2240866" cy="1623889"/>
          </a:xfrm>
          <a:prstGeom prst="wedgeRoundRectCallout">
            <a:avLst>
              <a:gd name="adj1" fmla="val -89891"/>
              <a:gd name="adj2" fmla="val 52288"/>
              <a:gd name="adj3" fmla="val 16667"/>
            </a:avLst>
          </a:prstGeom>
          <a:solidFill>
            <a:srgbClr val="FFFF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 smtClean="0">
                <a:solidFill>
                  <a:schemeClr val="tx1"/>
                </a:solidFill>
              </a:rPr>
              <a:t>Se necessário atualize este slide conforme sua estratégia</a:t>
            </a:r>
            <a:endParaRPr lang="pt-B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34521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69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69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669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669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accel="50000" decel="5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669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669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accel="50000" decel="5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669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669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accel="5000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669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669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tângulo de cantos arredondados 27"/>
          <p:cNvSpPr/>
          <p:nvPr/>
        </p:nvSpPr>
        <p:spPr>
          <a:xfrm>
            <a:off x="2398630" y="4407704"/>
            <a:ext cx="2159000" cy="2405672"/>
          </a:xfrm>
          <a:prstGeom prst="roundRect">
            <a:avLst>
              <a:gd name="adj" fmla="val 5807"/>
            </a:avLst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>
              <a:solidFill>
                <a:prstClr val="white"/>
              </a:solidFill>
            </a:endParaRPr>
          </a:p>
        </p:txBody>
      </p:sp>
      <p:graphicFrame>
        <p:nvGraphicFramePr>
          <p:cNvPr id="5" name="Objeto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22846998"/>
              </p:ext>
            </p:extLst>
          </p:nvPr>
        </p:nvGraphicFramePr>
        <p:xfrm>
          <a:off x="358565" y="1115794"/>
          <a:ext cx="2822761" cy="27296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" name="CorelDRAW" r:id="rId3" imgW="1833300" imgH="1540085" progId="CorelDraw.Graphic.17">
                  <p:embed/>
                </p:oleObj>
              </mc:Choice>
              <mc:Fallback>
                <p:oleObj name="CorelDRAW" r:id="rId3" imgW="1833300" imgH="1540085" progId="CorelDraw.Graphic.1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58565" y="1115794"/>
                        <a:ext cx="2822761" cy="2729615"/>
                      </a:xfrm>
                      <a:prstGeom prst="rect">
                        <a:avLst/>
                      </a:prstGeom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to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50889764"/>
              </p:ext>
            </p:extLst>
          </p:nvPr>
        </p:nvGraphicFramePr>
        <p:xfrm>
          <a:off x="3181042" y="4162842"/>
          <a:ext cx="526862" cy="6157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" name="CorelDRAW" r:id="rId5" imgW="395010" imgH="461244" progId="CorelDraw.Graphic.17">
                  <p:embed/>
                </p:oleObj>
              </mc:Choice>
              <mc:Fallback>
                <p:oleObj name="CorelDRAW" r:id="rId5" imgW="395010" imgH="461244" progId="CorelDraw.Graphic.1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81042" y="4162842"/>
                        <a:ext cx="526862" cy="6157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/>
          <p:cNvSpPr/>
          <p:nvPr/>
        </p:nvSpPr>
        <p:spPr>
          <a:xfrm>
            <a:off x="511286" y="100384"/>
            <a:ext cx="8466147" cy="1006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lnSpc>
                <a:spcPct val="90000"/>
              </a:lnSpc>
            </a:pPr>
            <a:r>
              <a:rPr lang="pt-BR" sz="2200" dirty="0">
                <a:solidFill>
                  <a:schemeClr val="tx2">
                    <a:lumMod val="50000"/>
                  </a:schemeClr>
                </a:solidFill>
                <a:latin typeface="Gill Sans" pitchFamily="34" charset="0"/>
              </a:rPr>
              <a:t>...e é implementada através de quatro passos que devem sustentar o crescimento e os novos modelos de negócio da Empresa</a:t>
            </a:r>
          </a:p>
        </p:txBody>
      </p:sp>
      <p:sp>
        <p:nvSpPr>
          <p:cNvPr id="30" name="Retângulo de cantos arredondados 29"/>
          <p:cNvSpPr/>
          <p:nvPr/>
        </p:nvSpPr>
        <p:spPr>
          <a:xfrm>
            <a:off x="4621924" y="4387070"/>
            <a:ext cx="2159000" cy="2405672"/>
          </a:xfrm>
          <a:prstGeom prst="roundRect">
            <a:avLst>
              <a:gd name="adj" fmla="val 5807"/>
            </a:avLst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29" name="Retângulo 28"/>
          <p:cNvSpPr>
            <a:spLocks noChangeArrowheads="1"/>
          </p:cNvSpPr>
          <p:nvPr/>
        </p:nvSpPr>
        <p:spPr bwMode="auto">
          <a:xfrm>
            <a:off x="2475442" y="4709472"/>
            <a:ext cx="187325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b="1" dirty="0" smtClean="0">
                <a:solidFill>
                  <a:srgbClr val="C00000"/>
                </a:solidFill>
              </a:rPr>
              <a:t>Aumento de Produtividade e Eficiência</a:t>
            </a:r>
            <a:endParaRPr lang="pt-BR" b="1" dirty="0">
              <a:solidFill>
                <a:srgbClr val="E03E52"/>
              </a:solidFill>
              <a:latin typeface="Gill Sans Light" pitchFamily="34" charset="0"/>
              <a:cs typeface="Arial" charset="0"/>
            </a:endParaRPr>
          </a:p>
        </p:txBody>
      </p:sp>
      <p:sp>
        <p:nvSpPr>
          <p:cNvPr id="31" name="Retângulo 30"/>
          <p:cNvSpPr>
            <a:spLocks noChangeArrowheads="1"/>
          </p:cNvSpPr>
          <p:nvPr/>
        </p:nvSpPr>
        <p:spPr bwMode="auto">
          <a:xfrm>
            <a:off x="4750512" y="4710919"/>
            <a:ext cx="187325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b="1" dirty="0" smtClean="0">
                <a:solidFill>
                  <a:srgbClr val="C00000"/>
                </a:solidFill>
              </a:rPr>
              <a:t>Eficiência TI + Negócios</a:t>
            </a:r>
            <a:endParaRPr lang="pt-BR" b="1" dirty="0">
              <a:solidFill>
                <a:srgbClr val="E03E52"/>
              </a:solidFill>
              <a:latin typeface="Gill Sans Light" pitchFamily="34" charset="0"/>
              <a:cs typeface="Arial" charset="0"/>
            </a:endParaRPr>
          </a:p>
        </p:txBody>
      </p:sp>
      <p:sp>
        <p:nvSpPr>
          <p:cNvPr id="32" name="Retângulo de cantos arredondados 31"/>
          <p:cNvSpPr/>
          <p:nvPr/>
        </p:nvSpPr>
        <p:spPr>
          <a:xfrm>
            <a:off x="6877602" y="4385623"/>
            <a:ext cx="2159000" cy="2405672"/>
          </a:xfrm>
          <a:prstGeom prst="roundRect">
            <a:avLst>
              <a:gd name="adj" fmla="val 5807"/>
            </a:avLst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33" name="Retângulo 32"/>
          <p:cNvSpPr>
            <a:spLocks noChangeArrowheads="1"/>
          </p:cNvSpPr>
          <p:nvPr/>
        </p:nvSpPr>
        <p:spPr bwMode="auto">
          <a:xfrm>
            <a:off x="7006190" y="4709472"/>
            <a:ext cx="1873250" cy="72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b="1" dirty="0" smtClean="0">
                <a:solidFill>
                  <a:srgbClr val="C00000"/>
                </a:solidFill>
              </a:rPr>
              <a:t>Transformação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b="1" dirty="0" smtClean="0">
                <a:solidFill>
                  <a:srgbClr val="C00000"/>
                </a:solidFill>
                <a:latin typeface="Gill Sans Light" pitchFamily="34" charset="0"/>
                <a:cs typeface="Arial" charset="0"/>
              </a:rPr>
              <a:t>Do Negócio</a:t>
            </a:r>
            <a:endParaRPr lang="pt-BR" b="1" dirty="0">
              <a:solidFill>
                <a:srgbClr val="E03E52"/>
              </a:solidFill>
              <a:latin typeface="Gill Sans Light" pitchFamily="34" charset="0"/>
              <a:cs typeface="Arial" charset="0"/>
            </a:endParaRPr>
          </a:p>
        </p:txBody>
      </p:sp>
      <p:sp>
        <p:nvSpPr>
          <p:cNvPr id="34" name="Retângulo de cantos arredondados 33"/>
          <p:cNvSpPr/>
          <p:nvPr/>
        </p:nvSpPr>
        <p:spPr>
          <a:xfrm>
            <a:off x="107504" y="4391266"/>
            <a:ext cx="2159000" cy="2405672"/>
          </a:xfrm>
          <a:prstGeom prst="roundRect">
            <a:avLst>
              <a:gd name="adj" fmla="val 5807"/>
            </a:avLst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35" name="Retângulo 34"/>
          <p:cNvSpPr>
            <a:spLocks noChangeArrowheads="1"/>
          </p:cNvSpPr>
          <p:nvPr/>
        </p:nvSpPr>
        <p:spPr bwMode="auto">
          <a:xfrm>
            <a:off x="184316" y="4693034"/>
            <a:ext cx="187325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b="1" dirty="0" smtClean="0">
                <a:solidFill>
                  <a:srgbClr val="C00000"/>
                </a:solidFill>
              </a:rPr>
              <a:t>Redução de Custos</a:t>
            </a: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b="1" dirty="0">
              <a:solidFill>
                <a:srgbClr val="E03E52"/>
              </a:solidFill>
              <a:latin typeface="Gill Sans Light" pitchFamily="34" charset="0"/>
              <a:cs typeface="Arial" charset="0"/>
            </a:endParaRPr>
          </a:p>
        </p:txBody>
      </p:sp>
      <p:graphicFrame>
        <p:nvGraphicFramePr>
          <p:cNvPr id="16" name="Objeto 1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06500932"/>
              </p:ext>
            </p:extLst>
          </p:nvPr>
        </p:nvGraphicFramePr>
        <p:xfrm>
          <a:off x="5508104" y="4084785"/>
          <a:ext cx="182135" cy="6541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" name="CorelDRAW" r:id="rId7" imgW="148230" imgH="530255" progId="CorelDraw.Graphic.17">
                  <p:embed/>
                </p:oleObj>
              </mc:Choice>
              <mc:Fallback>
                <p:oleObj name="CorelDRAW" r:id="rId7" imgW="148230" imgH="530255" progId="CorelDraw.Graphic.1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5508104" y="4084785"/>
                        <a:ext cx="182135" cy="6541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to 1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45515555"/>
              </p:ext>
            </p:extLst>
          </p:nvPr>
        </p:nvGraphicFramePr>
        <p:xfrm>
          <a:off x="7632102" y="4162842"/>
          <a:ext cx="572694" cy="5198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" name="CorelDRAW" r:id="rId9" imgW="412830" imgH="374979" progId="CorelDraw.Graphic.17">
                  <p:embed/>
                </p:oleObj>
              </mc:Choice>
              <mc:Fallback>
                <p:oleObj name="CorelDRAW" r:id="rId9" imgW="412830" imgH="374979" progId="CorelDraw.Graphic.1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7632102" y="4162842"/>
                        <a:ext cx="572694" cy="5198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aixaDeTexto 3"/>
          <p:cNvSpPr txBox="1"/>
          <p:nvPr/>
        </p:nvSpPr>
        <p:spPr>
          <a:xfrm>
            <a:off x="171397" y="5283320"/>
            <a:ext cx="201829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 err="1">
                <a:solidFill>
                  <a:srgbClr val="666666"/>
                </a:solidFill>
              </a:rPr>
              <a:t>Cloud</a:t>
            </a:r>
            <a:r>
              <a:rPr lang="pt-BR" sz="1400" dirty="0">
                <a:solidFill>
                  <a:srgbClr val="666666"/>
                </a:solidFill>
              </a:rPr>
              <a:t>, SaaS, SOA, Processos,</a:t>
            </a:r>
            <a:br>
              <a:rPr lang="pt-BR" sz="1400" dirty="0">
                <a:solidFill>
                  <a:srgbClr val="666666"/>
                </a:solidFill>
              </a:rPr>
            </a:br>
            <a:r>
              <a:rPr lang="pt-BR" sz="1400" dirty="0">
                <a:solidFill>
                  <a:srgbClr val="666666"/>
                </a:solidFill>
              </a:rPr>
              <a:t>Terceirização de Serviços,</a:t>
            </a:r>
            <a:br>
              <a:rPr lang="pt-BR" sz="1400" dirty="0">
                <a:solidFill>
                  <a:srgbClr val="666666"/>
                </a:solidFill>
              </a:rPr>
            </a:br>
            <a:r>
              <a:rPr lang="pt-BR" sz="1400" dirty="0">
                <a:solidFill>
                  <a:srgbClr val="666666"/>
                </a:solidFill>
              </a:rPr>
              <a:t>Outsourcing de profissionais.</a:t>
            </a:r>
          </a:p>
        </p:txBody>
      </p:sp>
      <p:sp>
        <p:nvSpPr>
          <p:cNvPr id="36" name="CaixaDeTexto 35"/>
          <p:cNvSpPr txBox="1"/>
          <p:nvPr/>
        </p:nvSpPr>
        <p:spPr>
          <a:xfrm>
            <a:off x="2553705" y="5675010"/>
            <a:ext cx="201829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400">
                <a:solidFill>
                  <a:srgbClr val="666666"/>
                </a:solidFill>
              </a:defRPr>
            </a:lvl1pPr>
          </a:lstStyle>
          <a:p>
            <a:r>
              <a:rPr lang="pt-BR" dirty="0"/>
              <a:t>Processos, Mobilidade,</a:t>
            </a:r>
            <a:br>
              <a:rPr lang="pt-BR" dirty="0"/>
            </a:br>
            <a:r>
              <a:rPr lang="pt-BR" dirty="0"/>
              <a:t>Integração, Tecnologias,</a:t>
            </a:r>
            <a:br>
              <a:rPr lang="pt-BR" dirty="0"/>
            </a:br>
            <a:r>
              <a:rPr lang="pt-BR" dirty="0"/>
              <a:t>Automatização.</a:t>
            </a:r>
          </a:p>
        </p:txBody>
      </p:sp>
      <p:sp>
        <p:nvSpPr>
          <p:cNvPr id="37" name="CaixaDeTexto 36"/>
          <p:cNvSpPr txBox="1"/>
          <p:nvPr/>
        </p:nvSpPr>
        <p:spPr>
          <a:xfrm>
            <a:off x="4648239" y="5513571"/>
            <a:ext cx="201829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400">
                <a:solidFill>
                  <a:srgbClr val="666666"/>
                </a:solidFill>
              </a:defRPr>
            </a:lvl1pPr>
          </a:lstStyle>
          <a:p>
            <a:r>
              <a:rPr lang="pt-BR" dirty="0"/>
              <a:t>Otimização, </a:t>
            </a:r>
            <a:r>
              <a:rPr lang="pt-BR" dirty="0" err="1"/>
              <a:t>Metodos</a:t>
            </a:r>
            <a:r>
              <a:rPr lang="pt-BR" dirty="0"/>
              <a:t> Ágeis,</a:t>
            </a:r>
            <a:br>
              <a:rPr lang="pt-BR" dirty="0"/>
            </a:br>
            <a:r>
              <a:rPr lang="pt-BR" dirty="0" err="1"/>
              <a:t>Lean</a:t>
            </a:r>
            <a:r>
              <a:rPr lang="pt-BR" dirty="0"/>
              <a:t> Startup, Escalabilidade,</a:t>
            </a:r>
            <a:br>
              <a:rPr lang="pt-BR" dirty="0"/>
            </a:br>
            <a:r>
              <a:rPr lang="pt-BR" dirty="0"/>
              <a:t>Prototipação.</a:t>
            </a:r>
          </a:p>
        </p:txBody>
      </p:sp>
      <p:sp>
        <p:nvSpPr>
          <p:cNvPr id="39" name="CaixaDeTexto 38"/>
          <p:cNvSpPr txBox="1"/>
          <p:nvPr/>
        </p:nvSpPr>
        <p:spPr>
          <a:xfrm>
            <a:off x="6959139" y="5498764"/>
            <a:ext cx="201829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400">
                <a:solidFill>
                  <a:srgbClr val="666666"/>
                </a:solidFill>
              </a:defRPr>
            </a:lvl1pPr>
          </a:lstStyle>
          <a:p>
            <a:r>
              <a:rPr lang="pt-BR" dirty="0"/>
              <a:t>Potencialização,</a:t>
            </a:r>
            <a:br>
              <a:rPr lang="pt-BR" dirty="0"/>
            </a:br>
            <a:r>
              <a:rPr lang="pt-BR" dirty="0"/>
              <a:t>Novos Modelos, MVP,</a:t>
            </a:r>
            <a:br>
              <a:rPr lang="pt-BR" dirty="0"/>
            </a:br>
            <a:r>
              <a:rPr lang="pt-BR" dirty="0"/>
              <a:t>Big Data &amp; </a:t>
            </a:r>
            <a:r>
              <a:rPr lang="pt-BR" dirty="0" err="1"/>
              <a:t>Analytics</a:t>
            </a:r>
            <a:r>
              <a:rPr lang="pt-BR" dirty="0"/>
              <a:t>.</a:t>
            </a:r>
            <a:endParaRPr lang="pt-BR" dirty="0">
              <a:effectLst/>
            </a:endParaRPr>
          </a:p>
        </p:txBody>
      </p:sp>
      <p:graphicFrame>
        <p:nvGraphicFramePr>
          <p:cNvPr id="26" name="Objeto 2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26522812"/>
              </p:ext>
            </p:extLst>
          </p:nvPr>
        </p:nvGraphicFramePr>
        <p:xfrm>
          <a:off x="821683" y="4018826"/>
          <a:ext cx="797989" cy="7335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" name="CorelDRAW" r:id="rId11" imgW="2006100" imgH="1844166" progId="CorelDraw.Graphic.17">
                  <p:embed/>
                </p:oleObj>
              </mc:Choice>
              <mc:Fallback>
                <p:oleObj name="CorelDRAW" r:id="rId11" imgW="2006100" imgH="1844166" progId="CorelDraw.Graphic.1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821683" y="4018826"/>
                        <a:ext cx="797989" cy="7335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tângulo de cantos arredondados 39"/>
          <p:cNvSpPr/>
          <p:nvPr/>
        </p:nvSpPr>
        <p:spPr>
          <a:xfrm>
            <a:off x="4220105" y="1220976"/>
            <a:ext cx="4176464" cy="2405672"/>
          </a:xfrm>
          <a:prstGeom prst="roundRect">
            <a:avLst>
              <a:gd name="adj" fmla="val 5807"/>
            </a:avLst>
          </a:prstGeom>
          <a:solidFill>
            <a:schemeClr val="bg1">
              <a:alpha val="5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41" name="Retângulo 40"/>
          <p:cNvSpPr>
            <a:spLocks noChangeArrowheads="1"/>
          </p:cNvSpPr>
          <p:nvPr/>
        </p:nvSpPr>
        <p:spPr bwMode="auto">
          <a:xfrm>
            <a:off x="4548703" y="1484784"/>
            <a:ext cx="362369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b="1" dirty="0" smtClean="0">
                <a:solidFill>
                  <a:schemeClr val="accent1">
                    <a:lumMod val="50000"/>
                  </a:schemeClr>
                </a:solidFill>
              </a:rPr>
              <a:t>Resultados de Negócio</a:t>
            </a:r>
            <a:endParaRPr lang="pt-BR" b="1" dirty="0">
              <a:solidFill>
                <a:schemeClr val="accent1">
                  <a:lumMod val="50000"/>
                </a:schemeClr>
              </a:solidFill>
              <a:latin typeface="Gill Sans Light" pitchFamily="34" charset="0"/>
              <a:cs typeface="Arial" charset="0"/>
            </a:endParaRPr>
          </a:p>
        </p:txBody>
      </p:sp>
      <p:sp>
        <p:nvSpPr>
          <p:cNvPr id="42" name="CaixaDeTexto 41"/>
          <p:cNvSpPr txBox="1"/>
          <p:nvPr/>
        </p:nvSpPr>
        <p:spPr>
          <a:xfrm>
            <a:off x="4572000" y="1916832"/>
            <a:ext cx="371294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400">
                <a:solidFill>
                  <a:srgbClr val="666666"/>
                </a:solidFill>
              </a:defRPr>
            </a:lvl1pPr>
          </a:lstStyle>
          <a:p>
            <a:pPr marL="285750" indent="-285750" algn="l">
              <a:buFont typeface="Wingdings" panose="05000000000000000000" pitchFamily="2" charset="2"/>
              <a:buChar char="v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Oportunidades </a:t>
            </a:r>
            <a:r>
              <a:rPr lang="pt-BR" sz="1600" dirty="0" err="1">
                <a:solidFill>
                  <a:schemeClr val="accent1">
                    <a:lumMod val="50000"/>
                  </a:schemeClr>
                </a:solidFill>
              </a:rPr>
              <a:t>Up</a:t>
            </a:r>
            <a:r>
              <a:rPr lang="pt-BR" sz="16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pt-BR" sz="1600" dirty="0" err="1">
                <a:solidFill>
                  <a:schemeClr val="accent1">
                    <a:lumMod val="50000"/>
                  </a:schemeClr>
                </a:solidFill>
              </a:rPr>
              <a:t>Sell</a:t>
            </a:r>
            <a:r>
              <a:rPr lang="pt-BR" sz="1600" dirty="0">
                <a:solidFill>
                  <a:schemeClr val="accent1">
                    <a:lumMod val="50000"/>
                  </a:schemeClr>
                </a:solidFill>
              </a:rPr>
              <a:t> e Cross </a:t>
            </a:r>
            <a:r>
              <a:rPr lang="pt-BR" sz="1600" dirty="0" err="1" smtClean="0">
                <a:solidFill>
                  <a:schemeClr val="accent1">
                    <a:lumMod val="50000"/>
                  </a:schemeClr>
                </a:solidFill>
              </a:rPr>
              <a:t>Sell</a:t>
            </a:r>
            <a:endParaRPr lang="pt-BR" sz="16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 algn="l">
              <a:buFont typeface="Wingdings" panose="05000000000000000000" pitchFamily="2" charset="2"/>
              <a:buChar char="v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Melhor </a:t>
            </a:r>
            <a:r>
              <a:rPr lang="pt-BR" sz="1600" dirty="0">
                <a:solidFill>
                  <a:schemeClr val="accent1">
                    <a:lumMod val="50000"/>
                  </a:schemeClr>
                </a:solidFill>
              </a:rPr>
              <a:t>experiência dos </a:t>
            </a: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clientes</a:t>
            </a:r>
          </a:p>
          <a:p>
            <a:pPr marL="285750" indent="-285750" algn="l">
              <a:buFont typeface="Wingdings" panose="05000000000000000000" pitchFamily="2" charset="2"/>
              <a:buChar char="v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Simplificação </a:t>
            </a:r>
            <a:r>
              <a:rPr lang="pt-BR" sz="1600" dirty="0">
                <a:solidFill>
                  <a:schemeClr val="accent1">
                    <a:lumMod val="50000"/>
                  </a:schemeClr>
                </a:solidFill>
              </a:rPr>
              <a:t>de </a:t>
            </a: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processos</a:t>
            </a:r>
          </a:p>
          <a:p>
            <a:pPr marL="285750" indent="-285750" algn="l">
              <a:buFont typeface="Wingdings" panose="05000000000000000000" pitchFamily="2" charset="2"/>
              <a:buChar char="v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Aumento </a:t>
            </a:r>
            <a:r>
              <a:rPr lang="pt-BR" sz="1600" dirty="0">
                <a:solidFill>
                  <a:schemeClr val="accent1">
                    <a:lumMod val="50000"/>
                  </a:schemeClr>
                </a:solidFill>
              </a:rPr>
              <a:t>da </a:t>
            </a: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eficiência</a:t>
            </a:r>
          </a:p>
          <a:p>
            <a:pPr marL="285750" indent="-285750" algn="l">
              <a:buFont typeface="Wingdings" panose="05000000000000000000" pitchFamily="2" charset="2"/>
              <a:buChar char="v"/>
            </a:pP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Rápido </a:t>
            </a:r>
            <a:r>
              <a:rPr lang="pt-BR" sz="1600" dirty="0">
                <a:solidFill>
                  <a:schemeClr val="accent1">
                    <a:lumMod val="50000"/>
                  </a:schemeClr>
                </a:solidFill>
              </a:rPr>
              <a:t>time-</a:t>
            </a:r>
            <a:r>
              <a:rPr lang="pt-BR" sz="1600" dirty="0" err="1">
                <a:solidFill>
                  <a:schemeClr val="accent1">
                    <a:lumMod val="50000"/>
                  </a:schemeClr>
                </a:solidFill>
              </a:rPr>
              <a:t>to</a:t>
            </a:r>
            <a:r>
              <a:rPr lang="pt-BR" sz="1600" dirty="0">
                <a:solidFill>
                  <a:schemeClr val="accent1">
                    <a:lumMod val="50000"/>
                  </a:schemeClr>
                </a:solidFill>
              </a:rPr>
              <a:t>-</a:t>
            </a:r>
            <a:r>
              <a:rPr lang="pt-BR" sz="1600" dirty="0" err="1">
                <a:solidFill>
                  <a:schemeClr val="accent1">
                    <a:lumMod val="50000"/>
                  </a:schemeClr>
                </a:solidFill>
              </a:rPr>
              <a:t>market</a:t>
            </a:r>
            <a:endParaRPr lang="pt-BR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3" name="Texto explicativo retangular com cantos arredondados 42"/>
          <p:cNvSpPr/>
          <p:nvPr/>
        </p:nvSpPr>
        <p:spPr>
          <a:xfrm>
            <a:off x="7065165" y="76918"/>
            <a:ext cx="2240866" cy="1623889"/>
          </a:xfrm>
          <a:prstGeom prst="wedgeRoundRectCallout">
            <a:avLst>
              <a:gd name="adj1" fmla="val -155985"/>
              <a:gd name="adj2" fmla="val 190285"/>
              <a:gd name="adj3" fmla="val 16667"/>
            </a:avLst>
          </a:prstGeom>
          <a:solidFill>
            <a:srgbClr val="FFFF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 smtClean="0">
                <a:solidFill>
                  <a:schemeClr val="tx1"/>
                </a:solidFill>
              </a:rPr>
              <a:t>Se necessário atualize este slide conforme sua estratégia</a:t>
            </a:r>
            <a:endParaRPr lang="pt-B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646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-36512" y="1412776"/>
            <a:ext cx="9180512" cy="3294906"/>
          </a:xfrm>
          <a:prstGeom prst="rect">
            <a:avLst/>
          </a:prstGeom>
          <a:noFill/>
        </p:spPr>
      </p:pic>
      <p:pic>
        <p:nvPicPr>
          <p:cNvPr id="34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-36512" y="4149080"/>
            <a:ext cx="9180512" cy="3168352"/>
          </a:xfrm>
          <a:prstGeom prst="rect">
            <a:avLst/>
          </a:prstGeom>
          <a:noFill/>
        </p:spPr>
      </p:pic>
      <p:sp>
        <p:nvSpPr>
          <p:cNvPr id="9" name="Retângulo 6"/>
          <p:cNvSpPr>
            <a:spLocks noChangeArrowheads="1"/>
          </p:cNvSpPr>
          <p:nvPr/>
        </p:nvSpPr>
        <p:spPr bwMode="auto">
          <a:xfrm>
            <a:off x="277812" y="1754188"/>
            <a:ext cx="2503488" cy="739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en-US" sz="2800" dirty="0" err="1">
                <a:solidFill>
                  <a:schemeClr val="bg1"/>
                </a:solidFill>
                <a:latin typeface="Gill Sans" pitchFamily="34" charset="0"/>
                <a:cs typeface="Times New Roman" pitchFamily="18" charset="0"/>
                <a:sym typeface="Gill Sans Std"/>
              </a:rPr>
              <a:t>Tendências</a:t>
            </a:r>
            <a:r>
              <a:rPr lang="en-US" sz="2800" dirty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  <a:sym typeface="Gill Sans Std"/>
              </a:rPr>
              <a:t> </a:t>
            </a:r>
            <a:r>
              <a:rPr lang="en-US" sz="2800" dirty="0" err="1">
                <a:solidFill>
                  <a:schemeClr val="bg1"/>
                </a:solidFill>
                <a:latin typeface="Gill Sans" pitchFamily="34" charset="0"/>
                <a:cs typeface="Times New Roman" pitchFamily="18" charset="0"/>
                <a:sym typeface="Gill Sans Std"/>
              </a:rPr>
              <a:t>Tecnológicas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sp>
        <p:nvSpPr>
          <p:cNvPr id="10" name="Retângulo 6"/>
          <p:cNvSpPr>
            <a:spLocks noChangeArrowheads="1"/>
          </p:cNvSpPr>
          <p:nvPr/>
        </p:nvSpPr>
        <p:spPr bwMode="auto">
          <a:xfrm>
            <a:off x="3390900" y="1911350"/>
            <a:ext cx="2695575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Realizações</a:t>
            </a:r>
          </a:p>
        </p:txBody>
      </p:sp>
      <p:sp>
        <p:nvSpPr>
          <p:cNvPr id="11" name="Retângulo 6"/>
          <p:cNvSpPr>
            <a:spLocks noChangeArrowheads="1"/>
          </p:cNvSpPr>
          <p:nvPr/>
        </p:nvSpPr>
        <p:spPr bwMode="auto">
          <a:xfrm>
            <a:off x="6443663" y="1813361"/>
            <a:ext cx="252095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 smtClean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Nossa</a:t>
            </a:r>
          </a:p>
          <a:p>
            <a:pPr algn="ctr" eaLnBrk="0" hangingPunct="0">
              <a:lnSpc>
                <a:spcPct val="75000"/>
              </a:lnSpc>
            </a:pPr>
            <a:r>
              <a:rPr lang="pt-BR" sz="2800" dirty="0" smtClean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Maturidade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sp>
        <p:nvSpPr>
          <p:cNvPr id="13" name="Retângulo 6"/>
          <p:cNvSpPr>
            <a:spLocks noChangeArrowheads="1"/>
          </p:cNvSpPr>
          <p:nvPr/>
        </p:nvSpPr>
        <p:spPr bwMode="auto">
          <a:xfrm>
            <a:off x="3224213" y="4707682"/>
            <a:ext cx="2695575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 err="1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Roadmap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sp>
        <p:nvSpPr>
          <p:cNvPr id="14" name="Retângulo 6"/>
          <p:cNvSpPr>
            <a:spLocks noChangeArrowheads="1"/>
          </p:cNvSpPr>
          <p:nvPr/>
        </p:nvSpPr>
        <p:spPr bwMode="auto">
          <a:xfrm>
            <a:off x="6362700" y="4740731"/>
            <a:ext cx="2660650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 smtClean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Investimentos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cxnSp>
        <p:nvCxnSpPr>
          <p:cNvPr id="24" name="Conector reto 23"/>
          <p:cNvCxnSpPr/>
          <p:nvPr/>
        </p:nvCxnSpPr>
        <p:spPr>
          <a:xfrm>
            <a:off x="2949575" y="1878013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to 24"/>
          <p:cNvCxnSpPr/>
          <p:nvPr/>
        </p:nvCxnSpPr>
        <p:spPr>
          <a:xfrm>
            <a:off x="6215063" y="1878013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to 25"/>
          <p:cNvCxnSpPr/>
          <p:nvPr/>
        </p:nvCxnSpPr>
        <p:spPr>
          <a:xfrm>
            <a:off x="2947988" y="4615607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to 26"/>
          <p:cNvCxnSpPr/>
          <p:nvPr/>
        </p:nvCxnSpPr>
        <p:spPr>
          <a:xfrm>
            <a:off x="6200775" y="4615607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Diagrama 22"/>
          <p:cNvGraphicFramePr/>
          <p:nvPr/>
        </p:nvGraphicFramePr>
        <p:xfrm>
          <a:off x="155848" y="188640"/>
          <a:ext cx="1391816" cy="1368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0" name="Retângulo 6"/>
          <p:cNvSpPr>
            <a:spLocks noChangeArrowheads="1"/>
          </p:cNvSpPr>
          <p:nvPr/>
        </p:nvSpPr>
        <p:spPr bwMode="auto">
          <a:xfrm>
            <a:off x="117475" y="4661644"/>
            <a:ext cx="2695575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Uma Nova TI</a:t>
            </a:r>
          </a:p>
        </p:txBody>
      </p:sp>
      <p:sp>
        <p:nvSpPr>
          <p:cNvPr id="31" name="Retângulo 3"/>
          <p:cNvSpPr>
            <a:spLocks noChangeArrowheads="1"/>
          </p:cNvSpPr>
          <p:nvPr/>
        </p:nvSpPr>
        <p:spPr bwMode="auto">
          <a:xfrm>
            <a:off x="3092450" y="180187"/>
            <a:ext cx="3108543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/>
            <a:r>
              <a:rPr lang="pt-BR" sz="5400" dirty="0">
                <a:solidFill>
                  <a:schemeClr val="accent1">
                    <a:lumMod val="50000"/>
                  </a:schemeClr>
                </a:solidFill>
                <a:latin typeface="Gill Sans Light" pitchFamily="34" charset="0"/>
                <a:cs typeface="Times New Roman" pitchFamily="18" charset="0"/>
              </a:rPr>
              <a:t>AGENDA</a:t>
            </a:r>
          </a:p>
        </p:txBody>
      </p:sp>
      <p:pic>
        <p:nvPicPr>
          <p:cNvPr id="16" name="Imagem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6226" y="2535598"/>
            <a:ext cx="1720970" cy="1541474"/>
          </a:xfrm>
          <a:prstGeom prst="rect">
            <a:avLst/>
          </a:prstGeom>
          <a:ln>
            <a:noFill/>
          </a:ln>
        </p:spPr>
      </p:pic>
      <p:graphicFrame>
        <p:nvGraphicFramePr>
          <p:cNvPr id="40" name="Diagrama 39"/>
          <p:cNvGraphicFramePr/>
          <p:nvPr/>
        </p:nvGraphicFramePr>
        <p:xfrm>
          <a:off x="3950812" y="2492895"/>
          <a:ext cx="1773316" cy="15511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41" name="Diagrama 40"/>
          <p:cNvGraphicFramePr/>
          <p:nvPr/>
        </p:nvGraphicFramePr>
        <p:xfrm>
          <a:off x="6804248" y="2540769"/>
          <a:ext cx="2088357" cy="15363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graphicFrame>
        <p:nvGraphicFramePr>
          <p:cNvPr id="42" name="Diagrama 41"/>
          <p:cNvGraphicFramePr/>
          <p:nvPr/>
        </p:nvGraphicFramePr>
        <p:xfrm>
          <a:off x="666227" y="5124143"/>
          <a:ext cx="1720970" cy="1560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  <p:graphicFrame>
        <p:nvGraphicFramePr>
          <p:cNvPr id="43" name="Diagrama 42"/>
          <p:cNvGraphicFramePr/>
          <p:nvPr/>
        </p:nvGraphicFramePr>
        <p:xfrm>
          <a:off x="3707904" y="5136700"/>
          <a:ext cx="1759129" cy="14674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4" r:lo="rId25" r:qs="rId26" r:cs="rId27"/>
          </a:graphicData>
        </a:graphic>
      </p:graphicFrame>
      <p:graphicFrame>
        <p:nvGraphicFramePr>
          <p:cNvPr id="44" name="Diagrama 43"/>
          <p:cNvGraphicFramePr/>
          <p:nvPr/>
        </p:nvGraphicFramePr>
        <p:xfrm>
          <a:off x="6804247" y="5162457"/>
          <a:ext cx="1915571" cy="15121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9" r:lo="rId30" r:qs="rId31" r:cs="rId32"/>
          </a:graphicData>
        </a:graphic>
      </p:graphicFrame>
      <p:sp>
        <p:nvSpPr>
          <p:cNvPr id="22" name="Seta para baixo 21"/>
          <p:cNvSpPr/>
          <p:nvPr/>
        </p:nvSpPr>
        <p:spPr>
          <a:xfrm rot="3556369">
            <a:off x="5512536" y="4216403"/>
            <a:ext cx="792088" cy="1048657"/>
          </a:xfrm>
          <a:prstGeom prst="downArrow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36780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3" grpId="0"/>
      <p:bldP spid="14" grpId="0"/>
      <p:bldP spid="30" grpId="0"/>
      <p:bldP spid="22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CaixaDeTexto 59"/>
          <p:cNvSpPr txBox="1"/>
          <p:nvPr/>
        </p:nvSpPr>
        <p:spPr>
          <a:xfrm>
            <a:off x="1979712" y="76470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 smtClean="0">
                <a:solidFill>
                  <a:srgbClr val="612C51"/>
                </a:solidFill>
                <a:latin typeface="Gill Sans" pitchFamily="34" charset="0"/>
              </a:rPr>
              <a:t>2016</a:t>
            </a:r>
            <a:endParaRPr lang="pt-BR" sz="2400" dirty="0">
              <a:solidFill>
                <a:srgbClr val="612C51"/>
              </a:solidFill>
              <a:latin typeface="Gill Sans" pitchFamily="34" charset="0"/>
            </a:endParaRPr>
          </a:p>
        </p:txBody>
      </p:sp>
      <p:sp>
        <p:nvSpPr>
          <p:cNvPr id="61" name="CaixaDeTexto 60"/>
          <p:cNvSpPr txBox="1"/>
          <p:nvPr/>
        </p:nvSpPr>
        <p:spPr>
          <a:xfrm>
            <a:off x="3843789" y="76470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 smtClean="0">
                <a:solidFill>
                  <a:srgbClr val="612C51"/>
                </a:solidFill>
                <a:latin typeface="Gill Sans" pitchFamily="34" charset="0"/>
              </a:rPr>
              <a:t>2017</a:t>
            </a:r>
            <a:endParaRPr lang="pt-BR" sz="2400" dirty="0">
              <a:solidFill>
                <a:srgbClr val="612C51"/>
              </a:solidFill>
              <a:latin typeface="Gill Sans" pitchFamily="34" charset="0"/>
            </a:endParaRPr>
          </a:p>
        </p:txBody>
      </p:sp>
      <p:sp>
        <p:nvSpPr>
          <p:cNvPr id="62" name="CaixaDeTexto 61"/>
          <p:cNvSpPr txBox="1"/>
          <p:nvPr/>
        </p:nvSpPr>
        <p:spPr>
          <a:xfrm>
            <a:off x="6076037" y="764704"/>
            <a:ext cx="8707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 smtClean="0">
                <a:solidFill>
                  <a:srgbClr val="612C51"/>
                </a:solidFill>
                <a:latin typeface="Gill Sans" pitchFamily="34" charset="0"/>
              </a:rPr>
              <a:t>2018</a:t>
            </a:r>
            <a:endParaRPr lang="pt-BR" sz="2400" dirty="0">
              <a:solidFill>
                <a:srgbClr val="612C51"/>
              </a:solidFill>
              <a:latin typeface="Gill Sans" pitchFamily="34" charset="0"/>
            </a:endParaRPr>
          </a:p>
        </p:txBody>
      </p:sp>
      <p:cxnSp>
        <p:nvCxnSpPr>
          <p:cNvPr id="40" name="Straight Arrow Connector 5"/>
          <p:cNvCxnSpPr>
            <a:cxnSpLocks noChangeShapeType="1"/>
          </p:cNvCxnSpPr>
          <p:nvPr/>
        </p:nvCxnSpPr>
        <p:spPr bwMode="auto">
          <a:xfrm flipH="1" flipV="1">
            <a:off x="1402655" y="1173163"/>
            <a:ext cx="26988" cy="5399087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41" name="Straight Arrow Connector 7"/>
          <p:cNvCxnSpPr/>
          <p:nvPr/>
        </p:nvCxnSpPr>
        <p:spPr>
          <a:xfrm>
            <a:off x="1428055" y="6559550"/>
            <a:ext cx="7197725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7352" y="2470150"/>
            <a:ext cx="1284288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2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pt-BR" sz="1200" b="1" dirty="0">
                <a:ea typeface="ＭＳ Ｐゴシック" pitchFamily="34" charset="-128"/>
              </a:rPr>
              <a:t>Conectando</a:t>
            </a:r>
          </a:p>
        </p:txBody>
      </p:sp>
      <p:sp>
        <p:nvSpPr>
          <p:cNvPr id="43" name="Arc 33"/>
          <p:cNvSpPr>
            <a:spLocks/>
          </p:cNvSpPr>
          <p:nvPr/>
        </p:nvSpPr>
        <p:spPr bwMode="auto">
          <a:xfrm>
            <a:off x="5292080" y="1125538"/>
            <a:ext cx="1439862" cy="4751387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en-US" sz="1800"/>
          </a:p>
        </p:txBody>
      </p:sp>
      <p:sp>
        <p:nvSpPr>
          <p:cNvPr id="44" name="Line 53"/>
          <p:cNvSpPr>
            <a:spLocks noChangeShapeType="1"/>
          </p:cNvSpPr>
          <p:nvPr/>
        </p:nvSpPr>
        <p:spPr bwMode="auto">
          <a:xfrm>
            <a:off x="-695" y="2261196"/>
            <a:ext cx="8893175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5" name="Line 54"/>
          <p:cNvSpPr>
            <a:spLocks noChangeShapeType="1"/>
          </p:cNvSpPr>
          <p:nvPr/>
        </p:nvSpPr>
        <p:spPr bwMode="auto">
          <a:xfrm>
            <a:off x="-695" y="3348038"/>
            <a:ext cx="8893175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6" name="Line 55"/>
          <p:cNvSpPr>
            <a:spLocks noChangeShapeType="1"/>
          </p:cNvSpPr>
          <p:nvPr/>
        </p:nvSpPr>
        <p:spPr bwMode="auto">
          <a:xfrm>
            <a:off x="-695" y="4105275"/>
            <a:ext cx="8893175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50" name="Line 56"/>
          <p:cNvSpPr>
            <a:spLocks noChangeShapeType="1"/>
          </p:cNvSpPr>
          <p:nvPr/>
        </p:nvSpPr>
        <p:spPr bwMode="auto">
          <a:xfrm>
            <a:off x="-695" y="5013325"/>
            <a:ext cx="8893175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51" name="Arc 64"/>
          <p:cNvSpPr>
            <a:spLocks/>
          </p:cNvSpPr>
          <p:nvPr/>
        </p:nvSpPr>
        <p:spPr bwMode="auto">
          <a:xfrm>
            <a:off x="2980747" y="1125538"/>
            <a:ext cx="1439862" cy="4751387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en-US" sz="1800"/>
          </a:p>
        </p:txBody>
      </p:sp>
      <p:sp>
        <p:nvSpPr>
          <p:cNvPr id="55" name="TextBox 4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602680" y="2663825"/>
            <a:ext cx="6837363" cy="204788"/>
          </a:xfrm>
          <a:prstGeom prst="rect">
            <a:avLst/>
          </a:prstGeom>
          <a:solidFill>
            <a:srgbClr val="009900"/>
          </a:solidFill>
          <a:ln w="12700" algn="ctr">
            <a:solidFill>
              <a:srgbClr val="606060"/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wrap="none" lIns="0" tIns="0" rIns="0" bIns="0"/>
          <a:lstStyle/>
          <a:p>
            <a:pPr algn="ctr">
              <a:defRPr/>
            </a:pPr>
            <a:r>
              <a:rPr lang="pt-BR" sz="1000" b="1" dirty="0" smtClean="0">
                <a:solidFill>
                  <a:schemeClr val="bg1"/>
                </a:solidFill>
                <a:ea typeface="ＭＳ Ｐゴシック" pitchFamily="34" charset="-128"/>
              </a:rPr>
              <a:t>Eficiência de TI + Demandas de Negócio</a:t>
            </a:r>
            <a:endParaRPr lang="pt-BR" sz="1000" b="1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68" name="AutoShape 54"/>
          <p:cNvSpPr>
            <a:spLocks noChangeArrowheads="1"/>
          </p:cNvSpPr>
          <p:nvPr/>
        </p:nvSpPr>
        <p:spPr bwMode="auto">
          <a:xfrm>
            <a:off x="4285109" y="2945292"/>
            <a:ext cx="142875" cy="133350"/>
          </a:xfrm>
          <a:prstGeom prst="flowChartExtra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69" name="AutoShape 55"/>
          <p:cNvSpPr>
            <a:spLocks noChangeArrowheads="1"/>
          </p:cNvSpPr>
          <p:nvPr/>
        </p:nvSpPr>
        <p:spPr bwMode="auto">
          <a:xfrm>
            <a:off x="3995936" y="2457450"/>
            <a:ext cx="142875" cy="133350"/>
          </a:xfrm>
          <a:prstGeom prst="flowChartExtra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74" name="AutoShape 58"/>
          <p:cNvSpPr>
            <a:spLocks noChangeArrowheads="1"/>
          </p:cNvSpPr>
          <p:nvPr/>
        </p:nvSpPr>
        <p:spPr bwMode="auto">
          <a:xfrm>
            <a:off x="6036191" y="2921971"/>
            <a:ext cx="129891" cy="156820"/>
          </a:xfrm>
          <a:prstGeom prst="flowChartExtra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78" name="AutoShape 60"/>
          <p:cNvSpPr>
            <a:spLocks noChangeArrowheads="1"/>
          </p:cNvSpPr>
          <p:nvPr/>
        </p:nvSpPr>
        <p:spPr bwMode="auto">
          <a:xfrm>
            <a:off x="6290618" y="2454275"/>
            <a:ext cx="142875" cy="133350"/>
          </a:xfrm>
          <a:prstGeom prst="flowChartExtra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79" name="Line 56"/>
          <p:cNvSpPr>
            <a:spLocks noChangeShapeType="1"/>
          </p:cNvSpPr>
          <p:nvPr/>
        </p:nvSpPr>
        <p:spPr bwMode="auto">
          <a:xfrm>
            <a:off x="-3870" y="5940276"/>
            <a:ext cx="8893175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1" name="TextBox 4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589980" y="6143625"/>
            <a:ext cx="6837363" cy="204788"/>
          </a:xfrm>
          <a:prstGeom prst="rect">
            <a:avLst/>
          </a:prstGeom>
          <a:solidFill>
            <a:srgbClr val="C0C0C0"/>
          </a:solidFill>
          <a:ln w="12700" algn="ctr">
            <a:solidFill>
              <a:srgbClr val="606060"/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wrap="none" lIns="0" tIns="0" rIns="0" bIns="0"/>
          <a:lstStyle/>
          <a:p>
            <a:pPr algn="ctr">
              <a:defRPr/>
            </a:pPr>
            <a:r>
              <a:rPr lang="pt-BR" sz="1000" b="1" dirty="0" smtClean="0">
                <a:ea typeface="ＭＳ Ｐゴシック" pitchFamily="34" charset="-128"/>
              </a:rPr>
              <a:t>Resultados de Negócio</a:t>
            </a:r>
            <a:endParaRPr lang="pt-BR" sz="1000" b="1" dirty="0">
              <a:ea typeface="ＭＳ Ｐゴシック" pitchFamily="34" charset="-128"/>
            </a:endParaRPr>
          </a:p>
        </p:txBody>
      </p:sp>
      <p:sp>
        <p:nvSpPr>
          <p:cNvPr id="95" name="TextBox 4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7406" y="1687513"/>
            <a:ext cx="1294234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2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1200" b="1" dirty="0" smtClean="0">
                <a:ea typeface="ＭＳ Ｐゴシック" pitchFamily="34" charset="-128"/>
              </a:rPr>
              <a:t>Transformando</a:t>
            </a:r>
            <a:endParaRPr lang="en-US" sz="1200" b="1" dirty="0">
              <a:ea typeface="ＭＳ Ｐゴシック" pitchFamily="34" charset="-128"/>
            </a:endParaRPr>
          </a:p>
        </p:txBody>
      </p:sp>
      <p:sp>
        <p:nvSpPr>
          <p:cNvPr id="96" name="TextBox 43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602680" y="1660525"/>
            <a:ext cx="6837363" cy="204788"/>
          </a:xfrm>
          <a:prstGeom prst="rect">
            <a:avLst/>
          </a:prstGeom>
          <a:solidFill>
            <a:srgbClr val="993300"/>
          </a:solidFill>
          <a:ln w="12700" algn="ctr">
            <a:solidFill>
              <a:srgbClr val="606060"/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wrap="none" lIns="0" tIns="0" rIns="0" bIns="0"/>
          <a:lstStyle/>
          <a:p>
            <a:pPr algn="ctr">
              <a:defRPr/>
            </a:pPr>
            <a:r>
              <a:rPr lang="pt-BR" sz="1000" b="1" dirty="0" smtClean="0">
                <a:solidFill>
                  <a:schemeClr val="bg1"/>
                </a:solidFill>
                <a:ea typeface="ＭＳ Ｐゴシック" pitchFamily="34" charset="-128"/>
              </a:rPr>
              <a:t>Transformação do Negócio</a:t>
            </a:r>
            <a:endParaRPr lang="pt-BR" sz="1000" b="1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97" name="AutoShape 68"/>
          <p:cNvSpPr>
            <a:spLocks noChangeArrowheads="1"/>
          </p:cNvSpPr>
          <p:nvPr/>
        </p:nvSpPr>
        <p:spPr bwMode="auto">
          <a:xfrm>
            <a:off x="2503749" y="1448740"/>
            <a:ext cx="142875" cy="133350"/>
          </a:xfrm>
          <a:prstGeom prst="flowChartExtra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103" name="AutoShape 75"/>
          <p:cNvSpPr>
            <a:spLocks noChangeArrowheads="1"/>
          </p:cNvSpPr>
          <p:nvPr/>
        </p:nvSpPr>
        <p:spPr bwMode="auto">
          <a:xfrm>
            <a:off x="7889075" y="1453023"/>
            <a:ext cx="142875" cy="133350"/>
          </a:xfrm>
          <a:prstGeom prst="flowChartExtra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104" name="AutoShape 76"/>
          <p:cNvSpPr>
            <a:spLocks noChangeArrowheads="1"/>
          </p:cNvSpPr>
          <p:nvPr/>
        </p:nvSpPr>
        <p:spPr bwMode="auto">
          <a:xfrm>
            <a:off x="4539854" y="1975239"/>
            <a:ext cx="142875" cy="133350"/>
          </a:xfrm>
          <a:prstGeom prst="flowChartExtra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106" name="TextBox 4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986" y="3595172"/>
            <a:ext cx="1268035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2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1200" b="1" dirty="0" smtClean="0">
                <a:ea typeface="ＭＳ Ｐゴシック" pitchFamily="34" charset="-128"/>
              </a:rPr>
              <a:t>Experimentando</a:t>
            </a:r>
            <a:endParaRPr lang="pt-BR" sz="1200" b="1" dirty="0">
              <a:ea typeface="ＭＳ Ｐゴシック" pitchFamily="34" charset="-128"/>
            </a:endParaRPr>
          </a:p>
        </p:txBody>
      </p:sp>
      <p:sp>
        <p:nvSpPr>
          <p:cNvPr id="107" name="TextBox 4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602680" y="3624629"/>
            <a:ext cx="6837363" cy="204788"/>
          </a:xfrm>
          <a:prstGeom prst="rect">
            <a:avLst/>
          </a:prstGeom>
          <a:solidFill>
            <a:schemeClr val="tx2"/>
          </a:solidFill>
          <a:ln w="12700" algn="ctr">
            <a:solidFill>
              <a:srgbClr val="606060"/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wrap="none" lIns="0" tIns="0" rIns="0" bIns="0"/>
          <a:lstStyle/>
          <a:p>
            <a:pPr algn="ctr">
              <a:defRPr/>
            </a:pPr>
            <a:r>
              <a:rPr lang="pt-BR" sz="1000" b="1" dirty="0" smtClean="0">
                <a:solidFill>
                  <a:schemeClr val="bg1"/>
                </a:solidFill>
                <a:ea typeface="ＭＳ Ｐゴシック" pitchFamily="34" charset="-128"/>
              </a:rPr>
              <a:t>Aumento de Produtividade </a:t>
            </a:r>
            <a:endParaRPr lang="pt-BR" sz="1000" b="1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110" name="AutoShape 38"/>
          <p:cNvSpPr>
            <a:spLocks noChangeArrowheads="1"/>
          </p:cNvSpPr>
          <p:nvPr/>
        </p:nvSpPr>
        <p:spPr bwMode="auto">
          <a:xfrm>
            <a:off x="1615090" y="3435350"/>
            <a:ext cx="142875" cy="133350"/>
          </a:xfrm>
          <a:prstGeom prst="flowChartExtra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112" name="TextBox 43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602680" y="4510088"/>
            <a:ext cx="6837363" cy="204787"/>
          </a:xfrm>
          <a:prstGeom prst="rect">
            <a:avLst/>
          </a:prstGeom>
          <a:solidFill>
            <a:srgbClr val="000099"/>
          </a:solidFill>
          <a:ln w="12700">
            <a:solidFill>
              <a:srgbClr val="606060"/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lIns="0" tIns="0" rIns="0" bIns="0"/>
          <a:lstStyle/>
          <a:p>
            <a:pPr algn="ctr">
              <a:defRPr/>
            </a:pPr>
            <a:r>
              <a:rPr lang="pt-BR" sz="1000" b="1" dirty="0" smtClean="0">
                <a:solidFill>
                  <a:schemeClr val="bg1"/>
                </a:solidFill>
                <a:ea typeface="ＭＳ Ｐゴシック" pitchFamily="34" charset="-128"/>
              </a:rPr>
              <a:t>Redução de Custos</a:t>
            </a:r>
            <a:endParaRPr lang="pt-BR" sz="1000" b="1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113" name="TextBox 43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7405" y="4513261"/>
            <a:ext cx="1328861" cy="18733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2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1200" b="1" dirty="0">
                <a:ea typeface="ＭＳ Ｐゴシック" pitchFamily="34" charset="-128"/>
              </a:rPr>
              <a:t>Organizando</a:t>
            </a:r>
          </a:p>
        </p:txBody>
      </p:sp>
      <p:sp>
        <p:nvSpPr>
          <p:cNvPr id="114" name="AutoShape 25"/>
          <p:cNvSpPr>
            <a:spLocks noChangeArrowheads="1"/>
          </p:cNvSpPr>
          <p:nvPr/>
        </p:nvSpPr>
        <p:spPr bwMode="auto">
          <a:xfrm>
            <a:off x="1763688" y="4318000"/>
            <a:ext cx="142875" cy="133350"/>
          </a:xfrm>
          <a:prstGeom prst="flowChartExtra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115" name="AutoShape 26"/>
          <p:cNvSpPr>
            <a:spLocks noChangeArrowheads="1"/>
          </p:cNvSpPr>
          <p:nvPr/>
        </p:nvSpPr>
        <p:spPr bwMode="auto">
          <a:xfrm>
            <a:off x="4355976" y="4765675"/>
            <a:ext cx="142875" cy="133350"/>
          </a:xfrm>
          <a:prstGeom prst="flowChartExtra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117" name="AutoShape 30"/>
          <p:cNvSpPr>
            <a:spLocks noChangeArrowheads="1"/>
          </p:cNvSpPr>
          <p:nvPr/>
        </p:nvSpPr>
        <p:spPr bwMode="auto">
          <a:xfrm>
            <a:off x="3000788" y="4775349"/>
            <a:ext cx="142875" cy="133350"/>
          </a:xfrm>
          <a:prstGeom prst="flowChartExtra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125" name="AutoShape 27"/>
          <p:cNvSpPr>
            <a:spLocks noChangeArrowheads="1"/>
          </p:cNvSpPr>
          <p:nvPr/>
        </p:nvSpPr>
        <p:spPr bwMode="auto">
          <a:xfrm>
            <a:off x="7283714" y="4772025"/>
            <a:ext cx="142875" cy="133350"/>
          </a:xfrm>
          <a:prstGeom prst="flowChartExtra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131" name="AutoShape 68"/>
          <p:cNvSpPr>
            <a:spLocks noChangeArrowheads="1"/>
          </p:cNvSpPr>
          <p:nvPr/>
        </p:nvSpPr>
        <p:spPr bwMode="auto">
          <a:xfrm>
            <a:off x="5027110" y="1473544"/>
            <a:ext cx="142875" cy="133350"/>
          </a:xfrm>
          <a:prstGeom prst="flowChartExtra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135" name="AutoShape 68"/>
          <p:cNvSpPr>
            <a:spLocks noChangeArrowheads="1"/>
          </p:cNvSpPr>
          <p:nvPr/>
        </p:nvSpPr>
        <p:spPr bwMode="auto">
          <a:xfrm>
            <a:off x="3584560" y="1955567"/>
            <a:ext cx="142875" cy="133350"/>
          </a:xfrm>
          <a:prstGeom prst="flowChartExtra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138" name="AutoShape 63"/>
          <p:cNvSpPr>
            <a:spLocks noChangeArrowheads="1"/>
          </p:cNvSpPr>
          <p:nvPr/>
        </p:nvSpPr>
        <p:spPr bwMode="auto">
          <a:xfrm>
            <a:off x="3334995" y="3429000"/>
            <a:ext cx="142875" cy="133350"/>
          </a:xfrm>
          <a:prstGeom prst="flowChartExtra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140" name="AutoShape 63"/>
          <p:cNvSpPr>
            <a:spLocks noChangeArrowheads="1"/>
          </p:cNvSpPr>
          <p:nvPr/>
        </p:nvSpPr>
        <p:spPr bwMode="auto">
          <a:xfrm>
            <a:off x="4423099" y="3913304"/>
            <a:ext cx="142875" cy="133350"/>
          </a:xfrm>
          <a:prstGeom prst="flowChartExtra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142" name="AutoShape 63"/>
          <p:cNvSpPr>
            <a:spLocks noChangeArrowheads="1"/>
          </p:cNvSpPr>
          <p:nvPr/>
        </p:nvSpPr>
        <p:spPr bwMode="auto">
          <a:xfrm>
            <a:off x="6733998" y="3431513"/>
            <a:ext cx="142875" cy="133350"/>
          </a:xfrm>
          <a:prstGeom prst="flowChartExtra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143" name="AutoShape 68"/>
          <p:cNvSpPr>
            <a:spLocks noChangeArrowheads="1"/>
          </p:cNvSpPr>
          <p:nvPr/>
        </p:nvSpPr>
        <p:spPr bwMode="auto">
          <a:xfrm>
            <a:off x="6317241" y="1466449"/>
            <a:ext cx="142875" cy="133350"/>
          </a:xfrm>
          <a:prstGeom prst="flowChartExtra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147" name="Retângulo 3"/>
          <p:cNvSpPr>
            <a:spLocks noChangeArrowheads="1"/>
          </p:cNvSpPr>
          <p:nvPr/>
        </p:nvSpPr>
        <p:spPr bwMode="auto">
          <a:xfrm>
            <a:off x="1285510" y="107921"/>
            <a:ext cx="687297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3200" dirty="0" err="1" smtClean="0">
                <a:solidFill>
                  <a:schemeClr val="accent1">
                    <a:lumMod val="50000"/>
                  </a:schemeClr>
                </a:solidFill>
                <a:latin typeface="Gill Sans Light" pitchFamily="34" charset="0"/>
                <a:cs typeface="Times New Roman" pitchFamily="18" charset="0"/>
              </a:rPr>
              <a:t>Roadmap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Gill Sans Light" pitchFamily="34" charset="0"/>
                <a:cs typeface="Times New Roman" pitchFamily="18" charset="0"/>
              </a:rPr>
              <a:t> de Projetos – Visão geral</a:t>
            </a:r>
            <a:endParaRPr lang="pt-BR" sz="3200" dirty="0">
              <a:solidFill>
                <a:schemeClr val="accent1">
                  <a:lumMod val="50000"/>
                </a:schemeClr>
              </a:solidFill>
              <a:latin typeface="Gill Sans Light" pitchFamily="34" charset="0"/>
              <a:cs typeface="Times New Roman" pitchFamily="18" charset="0"/>
            </a:endParaRPr>
          </a:p>
        </p:txBody>
      </p:sp>
      <p:sp>
        <p:nvSpPr>
          <p:cNvPr id="148" name="Arc 33"/>
          <p:cNvSpPr>
            <a:spLocks/>
          </p:cNvSpPr>
          <p:nvPr/>
        </p:nvSpPr>
        <p:spPr bwMode="auto">
          <a:xfrm>
            <a:off x="7236594" y="1196752"/>
            <a:ext cx="1439862" cy="4751387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en-US" sz="1800"/>
          </a:p>
        </p:txBody>
      </p:sp>
      <p:sp>
        <p:nvSpPr>
          <p:cNvPr id="80" name="TextBox 43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5496" y="5332566"/>
            <a:ext cx="1296144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2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pt-BR" sz="1200" b="1" dirty="0" smtClean="0">
                <a:ea typeface="ＭＳ Ｐゴシック" pitchFamily="34" charset="-128"/>
              </a:rPr>
              <a:t>Avaliando</a:t>
            </a:r>
            <a:endParaRPr lang="pt-BR" sz="1200" b="1" dirty="0">
              <a:ea typeface="ＭＳ Ｐゴシック" pitchFamily="34" charset="-128"/>
            </a:endParaRPr>
          </a:p>
        </p:txBody>
      </p:sp>
      <p:sp>
        <p:nvSpPr>
          <p:cNvPr id="82" name="TextBox 43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623069" y="5280789"/>
            <a:ext cx="6837363" cy="204787"/>
          </a:xfrm>
          <a:prstGeom prst="rect">
            <a:avLst/>
          </a:prstGeom>
          <a:solidFill>
            <a:srgbClr val="E03E52"/>
          </a:solidFill>
          <a:ln w="12700">
            <a:solidFill>
              <a:srgbClr val="606060"/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lIns="0" tIns="0" rIns="0" bIns="0"/>
          <a:lstStyle/>
          <a:p>
            <a:pPr algn="ctr">
              <a:defRPr/>
            </a:pPr>
            <a:r>
              <a:rPr lang="pt-BR" sz="1000" b="1" dirty="0" smtClean="0">
                <a:solidFill>
                  <a:schemeClr val="bg1"/>
                </a:solidFill>
                <a:ea typeface="ＭＳ Ｐゴシック" pitchFamily="34" charset="-128"/>
              </a:rPr>
              <a:t>Avaliando Oportunidades</a:t>
            </a:r>
            <a:endParaRPr lang="pt-BR" sz="1000" b="1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86" name="AutoShape 30"/>
          <p:cNvSpPr>
            <a:spLocks noChangeArrowheads="1"/>
          </p:cNvSpPr>
          <p:nvPr/>
        </p:nvSpPr>
        <p:spPr bwMode="auto">
          <a:xfrm>
            <a:off x="2987824" y="5530111"/>
            <a:ext cx="142875" cy="133350"/>
          </a:xfrm>
          <a:prstGeom prst="flowChartExtra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87" name="AutoShape 30"/>
          <p:cNvSpPr>
            <a:spLocks noChangeArrowheads="1"/>
          </p:cNvSpPr>
          <p:nvPr/>
        </p:nvSpPr>
        <p:spPr bwMode="auto">
          <a:xfrm>
            <a:off x="4355976" y="5527898"/>
            <a:ext cx="142875" cy="133350"/>
          </a:xfrm>
          <a:prstGeom prst="flowChartExtra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90" name="Text Box 35"/>
          <p:cNvSpPr txBox="1">
            <a:spLocks noChangeArrowheads="1"/>
          </p:cNvSpPr>
          <p:nvPr/>
        </p:nvSpPr>
        <p:spPr bwMode="auto">
          <a:xfrm>
            <a:off x="4427984" y="5517232"/>
            <a:ext cx="6094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pt-BR" sz="800" dirty="0" smtClean="0"/>
              <a:t>Projeto A</a:t>
            </a:r>
            <a:endParaRPr lang="en-US" sz="800" dirty="0"/>
          </a:p>
        </p:txBody>
      </p:sp>
      <p:sp>
        <p:nvSpPr>
          <p:cNvPr id="91" name="Text Box 35"/>
          <p:cNvSpPr txBox="1">
            <a:spLocks noChangeArrowheads="1"/>
          </p:cNvSpPr>
          <p:nvPr/>
        </p:nvSpPr>
        <p:spPr bwMode="auto">
          <a:xfrm>
            <a:off x="3131840" y="5517232"/>
            <a:ext cx="6094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pt-BR" sz="800" dirty="0" smtClean="0"/>
              <a:t>Projeto A</a:t>
            </a:r>
            <a:endParaRPr lang="en-US" sz="800" dirty="0"/>
          </a:p>
        </p:txBody>
      </p:sp>
      <p:sp>
        <p:nvSpPr>
          <p:cNvPr id="92" name="Text Box 35"/>
          <p:cNvSpPr txBox="1">
            <a:spLocks noChangeArrowheads="1"/>
          </p:cNvSpPr>
          <p:nvPr/>
        </p:nvSpPr>
        <p:spPr bwMode="auto">
          <a:xfrm>
            <a:off x="7359793" y="4759095"/>
            <a:ext cx="6094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pt-BR" sz="800" dirty="0" smtClean="0"/>
              <a:t>Projeto A</a:t>
            </a:r>
            <a:endParaRPr lang="en-US" sz="800" dirty="0"/>
          </a:p>
        </p:txBody>
      </p:sp>
      <p:sp>
        <p:nvSpPr>
          <p:cNvPr id="93" name="Text Box 35"/>
          <p:cNvSpPr txBox="1">
            <a:spLocks noChangeArrowheads="1"/>
          </p:cNvSpPr>
          <p:nvPr/>
        </p:nvSpPr>
        <p:spPr bwMode="auto">
          <a:xfrm>
            <a:off x="4427984" y="4738023"/>
            <a:ext cx="6094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pt-BR" sz="800" dirty="0" smtClean="0"/>
              <a:t>Projeto A</a:t>
            </a:r>
            <a:endParaRPr lang="en-US" sz="800" dirty="0"/>
          </a:p>
        </p:txBody>
      </p:sp>
      <p:sp>
        <p:nvSpPr>
          <p:cNvPr id="94" name="Text Box 35"/>
          <p:cNvSpPr txBox="1">
            <a:spLocks noChangeArrowheads="1"/>
          </p:cNvSpPr>
          <p:nvPr/>
        </p:nvSpPr>
        <p:spPr bwMode="auto">
          <a:xfrm>
            <a:off x="3072711" y="4763781"/>
            <a:ext cx="6094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pt-BR" sz="800" dirty="0" smtClean="0"/>
              <a:t>Projeto A</a:t>
            </a:r>
            <a:endParaRPr lang="en-US" sz="800" dirty="0"/>
          </a:p>
        </p:txBody>
      </p:sp>
      <p:sp>
        <p:nvSpPr>
          <p:cNvPr id="99" name="Text Box 35"/>
          <p:cNvSpPr txBox="1">
            <a:spLocks noChangeArrowheads="1"/>
          </p:cNvSpPr>
          <p:nvPr/>
        </p:nvSpPr>
        <p:spPr bwMode="auto">
          <a:xfrm>
            <a:off x="4572000" y="3861048"/>
            <a:ext cx="6094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pt-BR" sz="800" dirty="0" smtClean="0"/>
              <a:t>Projeto A</a:t>
            </a:r>
            <a:endParaRPr lang="en-US" sz="800" dirty="0"/>
          </a:p>
        </p:txBody>
      </p:sp>
      <p:sp>
        <p:nvSpPr>
          <p:cNvPr id="100" name="Text Box 35"/>
          <p:cNvSpPr txBox="1">
            <a:spLocks noChangeArrowheads="1"/>
          </p:cNvSpPr>
          <p:nvPr/>
        </p:nvSpPr>
        <p:spPr bwMode="auto">
          <a:xfrm>
            <a:off x="6804248" y="3369871"/>
            <a:ext cx="6094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pt-BR" sz="800" dirty="0" smtClean="0"/>
              <a:t>Projeto A</a:t>
            </a:r>
            <a:endParaRPr lang="en-US" sz="800" dirty="0"/>
          </a:p>
        </p:txBody>
      </p:sp>
      <p:sp>
        <p:nvSpPr>
          <p:cNvPr id="101" name="Text Box 35"/>
          <p:cNvSpPr txBox="1">
            <a:spLocks noChangeArrowheads="1"/>
          </p:cNvSpPr>
          <p:nvPr/>
        </p:nvSpPr>
        <p:spPr bwMode="auto">
          <a:xfrm>
            <a:off x="3419872" y="3416121"/>
            <a:ext cx="6094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pt-BR" sz="800" dirty="0" smtClean="0"/>
              <a:t>Projeto A</a:t>
            </a:r>
            <a:endParaRPr lang="en-US" sz="800" dirty="0"/>
          </a:p>
        </p:txBody>
      </p:sp>
      <p:sp>
        <p:nvSpPr>
          <p:cNvPr id="122" name="Text Box 35"/>
          <p:cNvSpPr txBox="1">
            <a:spLocks noChangeArrowheads="1"/>
          </p:cNvSpPr>
          <p:nvPr/>
        </p:nvSpPr>
        <p:spPr bwMode="auto">
          <a:xfrm>
            <a:off x="1712172" y="3416121"/>
            <a:ext cx="6094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pt-BR" sz="800" dirty="0" smtClean="0"/>
              <a:t>Projeto A</a:t>
            </a:r>
            <a:endParaRPr lang="en-US" sz="800" dirty="0"/>
          </a:p>
        </p:txBody>
      </p:sp>
      <p:sp>
        <p:nvSpPr>
          <p:cNvPr id="123" name="Text Box 35"/>
          <p:cNvSpPr txBox="1">
            <a:spLocks noChangeArrowheads="1"/>
          </p:cNvSpPr>
          <p:nvPr/>
        </p:nvSpPr>
        <p:spPr bwMode="auto">
          <a:xfrm>
            <a:off x="6156176" y="2924944"/>
            <a:ext cx="6094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pt-BR" sz="800" dirty="0" smtClean="0"/>
              <a:t>Projeto A</a:t>
            </a:r>
            <a:endParaRPr lang="en-US" sz="800" dirty="0"/>
          </a:p>
        </p:txBody>
      </p:sp>
      <p:sp>
        <p:nvSpPr>
          <p:cNvPr id="145" name="Text Box 35"/>
          <p:cNvSpPr txBox="1">
            <a:spLocks noChangeArrowheads="1"/>
          </p:cNvSpPr>
          <p:nvPr/>
        </p:nvSpPr>
        <p:spPr bwMode="auto">
          <a:xfrm>
            <a:off x="4355976" y="2924944"/>
            <a:ext cx="6094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pt-BR" sz="800" dirty="0" smtClean="0"/>
              <a:t>Projeto A</a:t>
            </a:r>
            <a:endParaRPr lang="en-US" sz="800" dirty="0"/>
          </a:p>
        </p:txBody>
      </p:sp>
      <p:sp>
        <p:nvSpPr>
          <p:cNvPr id="149" name="Text Box 35"/>
          <p:cNvSpPr txBox="1">
            <a:spLocks noChangeArrowheads="1"/>
          </p:cNvSpPr>
          <p:nvPr/>
        </p:nvSpPr>
        <p:spPr bwMode="auto">
          <a:xfrm>
            <a:off x="4067944" y="2421468"/>
            <a:ext cx="6094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pt-BR" sz="800" dirty="0" smtClean="0"/>
              <a:t>Projeto A</a:t>
            </a:r>
            <a:endParaRPr lang="en-US" sz="800" dirty="0"/>
          </a:p>
        </p:txBody>
      </p:sp>
      <p:sp>
        <p:nvSpPr>
          <p:cNvPr id="150" name="Text Box 35"/>
          <p:cNvSpPr txBox="1">
            <a:spLocks noChangeArrowheads="1"/>
          </p:cNvSpPr>
          <p:nvPr/>
        </p:nvSpPr>
        <p:spPr bwMode="auto">
          <a:xfrm>
            <a:off x="6372200" y="2421468"/>
            <a:ext cx="6094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pt-BR" sz="800" dirty="0" smtClean="0"/>
              <a:t>Projeto A</a:t>
            </a:r>
            <a:endParaRPr lang="en-US" sz="800" dirty="0"/>
          </a:p>
        </p:txBody>
      </p:sp>
      <p:sp>
        <p:nvSpPr>
          <p:cNvPr id="151" name="Text Box 35"/>
          <p:cNvSpPr txBox="1">
            <a:spLocks noChangeArrowheads="1"/>
          </p:cNvSpPr>
          <p:nvPr/>
        </p:nvSpPr>
        <p:spPr bwMode="auto">
          <a:xfrm>
            <a:off x="7994986" y="1412776"/>
            <a:ext cx="6094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pt-BR" sz="800" dirty="0" smtClean="0"/>
              <a:t>Projeto A</a:t>
            </a:r>
            <a:endParaRPr lang="en-US" sz="800" dirty="0"/>
          </a:p>
        </p:txBody>
      </p:sp>
      <p:sp>
        <p:nvSpPr>
          <p:cNvPr id="152" name="Text Box 35"/>
          <p:cNvSpPr txBox="1">
            <a:spLocks noChangeArrowheads="1"/>
          </p:cNvSpPr>
          <p:nvPr/>
        </p:nvSpPr>
        <p:spPr bwMode="auto">
          <a:xfrm>
            <a:off x="6444208" y="1412776"/>
            <a:ext cx="6094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pt-BR" sz="800" dirty="0" smtClean="0"/>
              <a:t>Projeto A</a:t>
            </a:r>
            <a:endParaRPr lang="en-US" sz="800" dirty="0"/>
          </a:p>
        </p:txBody>
      </p:sp>
      <p:sp>
        <p:nvSpPr>
          <p:cNvPr id="153" name="Text Box 35"/>
          <p:cNvSpPr txBox="1">
            <a:spLocks noChangeArrowheads="1"/>
          </p:cNvSpPr>
          <p:nvPr/>
        </p:nvSpPr>
        <p:spPr bwMode="auto">
          <a:xfrm>
            <a:off x="5114666" y="1412776"/>
            <a:ext cx="6094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pt-BR" sz="800" dirty="0" smtClean="0"/>
              <a:t>Projeto A</a:t>
            </a:r>
            <a:endParaRPr lang="en-US" sz="800" dirty="0"/>
          </a:p>
        </p:txBody>
      </p:sp>
      <p:sp>
        <p:nvSpPr>
          <p:cNvPr id="154" name="Text Box 35"/>
          <p:cNvSpPr txBox="1">
            <a:spLocks noChangeArrowheads="1"/>
          </p:cNvSpPr>
          <p:nvPr/>
        </p:nvSpPr>
        <p:spPr bwMode="auto">
          <a:xfrm>
            <a:off x="3635896" y="1917412"/>
            <a:ext cx="6094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pt-BR" sz="800" dirty="0" smtClean="0"/>
              <a:t>Projeto A</a:t>
            </a:r>
            <a:endParaRPr lang="en-US" sz="800" dirty="0"/>
          </a:p>
        </p:txBody>
      </p:sp>
      <p:sp>
        <p:nvSpPr>
          <p:cNvPr id="155" name="Text Box 35"/>
          <p:cNvSpPr txBox="1">
            <a:spLocks noChangeArrowheads="1"/>
          </p:cNvSpPr>
          <p:nvPr/>
        </p:nvSpPr>
        <p:spPr bwMode="auto">
          <a:xfrm>
            <a:off x="4644008" y="1917412"/>
            <a:ext cx="6094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pt-BR" sz="800" dirty="0" smtClean="0"/>
              <a:t>Projeto A</a:t>
            </a:r>
            <a:endParaRPr lang="en-US" sz="800" dirty="0"/>
          </a:p>
        </p:txBody>
      </p:sp>
      <p:sp>
        <p:nvSpPr>
          <p:cNvPr id="156" name="Text Box 35"/>
          <p:cNvSpPr txBox="1">
            <a:spLocks noChangeArrowheads="1"/>
          </p:cNvSpPr>
          <p:nvPr/>
        </p:nvSpPr>
        <p:spPr bwMode="auto">
          <a:xfrm>
            <a:off x="2627784" y="1412776"/>
            <a:ext cx="6094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pt-BR" sz="800" dirty="0" smtClean="0"/>
              <a:t>Projeto A</a:t>
            </a:r>
            <a:endParaRPr lang="en-US" sz="800" dirty="0"/>
          </a:p>
        </p:txBody>
      </p:sp>
      <p:sp>
        <p:nvSpPr>
          <p:cNvPr id="157" name="Text Box 35"/>
          <p:cNvSpPr txBox="1">
            <a:spLocks noChangeArrowheads="1"/>
          </p:cNvSpPr>
          <p:nvPr/>
        </p:nvSpPr>
        <p:spPr bwMode="auto">
          <a:xfrm>
            <a:off x="1907704" y="4293676"/>
            <a:ext cx="6094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pt-BR" sz="800" dirty="0" smtClean="0"/>
              <a:t>Projeto A</a:t>
            </a:r>
            <a:endParaRPr lang="en-US" sz="800" dirty="0"/>
          </a:p>
        </p:txBody>
      </p:sp>
      <p:sp>
        <p:nvSpPr>
          <p:cNvPr id="158" name="Texto explicativo retangular com cantos arredondados 157"/>
          <p:cNvSpPr/>
          <p:nvPr/>
        </p:nvSpPr>
        <p:spPr>
          <a:xfrm>
            <a:off x="6588224" y="0"/>
            <a:ext cx="2557113" cy="1700807"/>
          </a:xfrm>
          <a:prstGeom prst="wedgeRoundRectCallout">
            <a:avLst>
              <a:gd name="adj1" fmla="val -37627"/>
              <a:gd name="adj2" fmla="val 64586"/>
              <a:gd name="adj3" fmla="val 16667"/>
            </a:avLst>
          </a:prstGeom>
          <a:solidFill>
            <a:srgbClr val="FFFF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 smtClean="0">
                <a:solidFill>
                  <a:schemeClr val="tx1"/>
                </a:solidFill>
              </a:rPr>
              <a:t>Inclua os projetos, ações ou “ideias” de projetos Futuros</a:t>
            </a:r>
            <a:endParaRPr lang="pt-B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7765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-36512" y="1412776"/>
            <a:ext cx="9180512" cy="3294906"/>
          </a:xfrm>
          <a:prstGeom prst="rect">
            <a:avLst/>
          </a:prstGeom>
          <a:noFill/>
        </p:spPr>
      </p:pic>
      <p:pic>
        <p:nvPicPr>
          <p:cNvPr id="34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-36512" y="4149080"/>
            <a:ext cx="9180512" cy="3168352"/>
          </a:xfrm>
          <a:prstGeom prst="rect">
            <a:avLst/>
          </a:prstGeom>
          <a:noFill/>
        </p:spPr>
      </p:pic>
      <p:sp>
        <p:nvSpPr>
          <p:cNvPr id="9" name="Retângulo 6"/>
          <p:cNvSpPr>
            <a:spLocks noChangeArrowheads="1"/>
          </p:cNvSpPr>
          <p:nvPr/>
        </p:nvSpPr>
        <p:spPr bwMode="auto">
          <a:xfrm>
            <a:off x="277812" y="1754188"/>
            <a:ext cx="2503488" cy="739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en-US" sz="2800" dirty="0" err="1">
                <a:solidFill>
                  <a:schemeClr val="bg1"/>
                </a:solidFill>
                <a:latin typeface="Gill Sans" pitchFamily="34" charset="0"/>
                <a:cs typeface="Times New Roman" pitchFamily="18" charset="0"/>
                <a:sym typeface="Gill Sans Std"/>
              </a:rPr>
              <a:t>Tendências</a:t>
            </a:r>
            <a:r>
              <a:rPr lang="en-US" sz="2800" dirty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  <a:sym typeface="Gill Sans Std"/>
              </a:rPr>
              <a:t> </a:t>
            </a:r>
            <a:r>
              <a:rPr lang="en-US" sz="2800" dirty="0" err="1">
                <a:solidFill>
                  <a:schemeClr val="bg1"/>
                </a:solidFill>
                <a:latin typeface="Gill Sans" pitchFamily="34" charset="0"/>
                <a:cs typeface="Times New Roman" pitchFamily="18" charset="0"/>
                <a:sym typeface="Gill Sans Std"/>
              </a:rPr>
              <a:t>Tecnológicas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sp>
        <p:nvSpPr>
          <p:cNvPr id="10" name="Retângulo 6"/>
          <p:cNvSpPr>
            <a:spLocks noChangeArrowheads="1"/>
          </p:cNvSpPr>
          <p:nvPr/>
        </p:nvSpPr>
        <p:spPr bwMode="auto">
          <a:xfrm>
            <a:off x="3390900" y="1911350"/>
            <a:ext cx="2695575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Realizações</a:t>
            </a:r>
          </a:p>
        </p:txBody>
      </p:sp>
      <p:sp>
        <p:nvSpPr>
          <p:cNvPr id="11" name="Retângulo 6"/>
          <p:cNvSpPr>
            <a:spLocks noChangeArrowheads="1"/>
          </p:cNvSpPr>
          <p:nvPr/>
        </p:nvSpPr>
        <p:spPr bwMode="auto">
          <a:xfrm>
            <a:off x="6443663" y="1813361"/>
            <a:ext cx="252095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 smtClean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Nossa</a:t>
            </a:r>
          </a:p>
          <a:p>
            <a:pPr algn="ctr" eaLnBrk="0" hangingPunct="0">
              <a:lnSpc>
                <a:spcPct val="75000"/>
              </a:lnSpc>
            </a:pPr>
            <a:r>
              <a:rPr lang="pt-BR" sz="2800" dirty="0" smtClean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Maturidade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sp>
        <p:nvSpPr>
          <p:cNvPr id="13" name="Retângulo 6"/>
          <p:cNvSpPr>
            <a:spLocks noChangeArrowheads="1"/>
          </p:cNvSpPr>
          <p:nvPr/>
        </p:nvSpPr>
        <p:spPr bwMode="auto">
          <a:xfrm>
            <a:off x="3224213" y="4707682"/>
            <a:ext cx="2695575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 err="1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Roadmap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sp>
        <p:nvSpPr>
          <p:cNvPr id="14" name="Retângulo 6"/>
          <p:cNvSpPr>
            <a:spLocks noChangeArrowheads="1"/>
          </p:cNvSpPr>
          <p:nvPr/>
        </p:nvSpPr>
        <p:spPr bwMode="auto">
          <a:xfrm>
            <a:off x="6362700" y="4740731"/>
            <a:ext cx="2660650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 smtClean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Investimentos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cxnSp>
        <p:nvCxnSpPr>
          <p:cNvPr id="24" name="Conector reto 23"/>
          <p:cNvCxnSpPr/>
          <p:nvPr/>
        </p:nvCxnSpPr>
        <p:spPr>
          <a:xfrm>
            <a:off x="2949575" y="1878013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to 24"/>
          <p:cNvCxnSpPr/>
          <p:nvPr/>
        </p:nvCxnSpPr>
        <p:spPr>
          <a:xfrm>
            <a:off x="6215063" y="1878013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to 25"/>
          <p:cNvCxnSpPr/>
          <p:nvPr/>
        </p:nvCxnSpPr>
        <p:spPr>
          <a:xfrm>
            <a:off x="2947988" y="4615607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to 26"/>
          <p:cNvCxnSpPr/>
          <p:nvPr/>
        </p:nvCxnSpPr>
        <p:spPr>
          <a:xfrm>
            <a:off x="6200775" y="4615607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Diagrama 22"/>
          <p:cNvGraphicFramePr/>
          <p:nvPr/>
        </p:nvGraphicFramePr>
        <p:xfrm>
          <a:off x="155848" y="188640"/>
          <a:ext cx="1391816" cy="1368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0" name="Retângulo 6"/>
          <p:cNvSpPr>
            <a:spLocks noChangeArrowheads="1"/>
          </p:cNvSpPr>
          <p:nvPr/>
        </p:nvSpPr>
        <p:spPr bwMode="auto">
          <a:xfrm>
            <a:off x="117475" y="4661644"/>
            <a:ext cx="2695575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Uma Nova TI</a:t>
            </a:r>
          </a:p>
        </p:txBody>
      </p:sp>
      <p:sp>
        <p:nvSpPr>
          <p:cNvPr id="31" name="Retângulo 3"/>
          <p:cNvSpPr>
            <a:spLocks noChangeArrowheads="1"/>
          </p:cNvSpPr>
          <p:nvPr/>
        </p:nvSpPr>
        <p:spPr bwMode="auto">
          <a:xfrm>
            <a:off x="3092450" y="180187"/>
            <a:ext cx="3108543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/>
            <a:r>
              <a:rPr lang="pt-BR" sz="5400" dirty="0">
                <a:solidFill>
                  <a:schemeClr val="accent1">
                    <a:lumMod val="50000"/>
                  </a:schemeClr>
                </a:solidFill>
                <a:latin typeface="Gill Sans Light" pitchFamily="34" charset="0"/>
                <a:cs typeface="Times New Roman" pitchFamily="18" charset="0"/>
              </a:rPr>
              <a:t>AGENDA</a:t>
            </a:r>
          </a:p>
        </p:txBody>
      </p:sp>
      <p:pic>
        <p:nvPicPr>
          <p:cNvPr id="16" name="Imagem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6226" y="2535598"/>
            <a:ext cx="1720970" cy="1541474"/>
          </a:xfrm>
          <a:prstGeom prst="rect">
            <a:avLst/>
          </a:prstGeom>
          <a:ln>
            <a:noFill/>
          </a:ln>
        </p:spPr>
      </p:pic>
      <p:graphicFrame>
        <p:nvGraphicFramePr>
          <p:cNvPr id="40" name="Diagrama 39"/>
          <p:cNvGraphicFramePr/>
          <p:nvPr/>
        </p:nvGraphicFramePr>
        <p:xfrm>
          <a:off x="3950812" y="2492895"/>
          <a:ext cx="1773316" cy="15511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41" name="Diagrama 40"/>
          <p:cNvGraphicFramePr/>
          <p:nvPr/>
        </p:nvGraphicFramePr>
        <p:xfrm>
          <a:off x="6804248" y="2540769"/>
          <a:ext cx="2088357" cy="15363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graphicFrame>
        <p:nvGraphicFramePr>
          <p:cNvPr id="42" name="Diagrama 41"/>
          <p:cNvGraphicFramePr/>
          <p:nvPr/>
        </p:nvGraphicFramePr>
        <p:xfrm>
          <a:off x="666227" y="5124143"/>
          <a:ext cx="1720970" cy="1560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  <p:graphicFrame>
        <p:nvGraphicFramePr>
          <p:cNvPr id="43" name="Diagrama 42"/>
          <p:cNvGraphicFramePr/>
          <p:nvPr/>
        </p:nvGraphicFramePr>
        <p:xfrm>
          <a:off x="3707904" y="5136700"/>
          <a:ext cx="1759129" cy="14674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4" r:lo="rId25" r:qs="rId26" r:cs="rId27"/>
          </a:graphicData>
        </a:graphic>
      </p:graphicFrame>
      <p:graphicFrame>
        <p:nvGraphicFramePr>
          <p:cNvPr id="44" name="Diagrama 43"/>
          <p:cNvGraphicFramePr/>
          <p:nvPr/>
        </p:nvGraphicFramePr>
        <p:xfrm>
          <a:off x="6804247" y="5162457"/>
          <a:ext cx="1915571" cy="15121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9" r:lo="rId30" r:qs="rId31" r:cs="rId32"/>
          </a:graphicData>
        </a:graphic>
      </p:graphicFrame>
      <p:sp>
        <p:nvSpPr>
          <p:cNvPr id="22" name="Seta para baixo 21"/>
          <p:cNvSpPr/>
          <p:nvPr/>
        </p:nvSpPr>
        <p:spPr>
          <a:xfrm rot="3556369">
            <a:off x="8175841" y="3874148"/>
            <a:ext cx="792088" cy="1048657"/>
          </a:xfrm>
          <a:prstGeom prst="downArrow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6162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3" grpId="0"/>
      <p:bldP spid="14" grpId="0"/>
      <p:bldP spid="30" grpId="0"/>
      <p:bldP spid="22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N09_Isa1"/>
          <p:cNvPicPr>
            <a:picLocks noChangeAspect="1" noChangeArrowheads="1"/>
          </p:cNvPicPr>
          <p:nvPr/>
        </p:nvPicPr>
        <p:blipFill>
          <a:blip r:embed="rId3"/>
          <a:srcRect t="4167" r="11667" b="72501"/>
          <a:stretch>
            <a:fillRect/>
          </a:stretch>
        </p:blipFill>
        <p:spPr bwMode="auto">
          <a:xfrm>
            <a:off x="0" y="260648"/>
            <a:ext cx="8077200" cy="1600200"/>
          </a:xfrm>
          <a:prstGeom prst="rect">
            <a:avLst/>
          </a:prstGeom>
          <a:noFill/>
        </p:spPr>
      </p:pic>
      <p:sp>
        <p:nvSpPr>
          <p:cNvPr id="6" name="Retângulo 5"/>
          <p:cNvSpPr/>
          <p:nvPr/>
        </p:nvSpPr>
        <p:spPr>
          <a:xfrm>
            <a:off x="1" y="1844824"/>
            <a:ext cx="9144000" cy="3888432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sp>
        <p:nvSpPr>
          <p:cNvPr id="7" name="Retângulo 6"/>
          <p:cNvSpPr>
            <a:spLocks noChangeArrowheads="1"/>
          </p:cNvSpPr>
          <p:nvPr/>
        </p:nvSpPr>
        <p:spPr bwMode="auto">
          <a:xfrm>
            <a:off x="1162247" y="530650"/>
            <a:ext cx="6650113" cy="89255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t"/>
          <a:lstStyle/>
          <a:p>
            <a:r>
              <a:rPr lang="pt-BR" sz="2600" dirty="0" smtClean="0">
                <a:solidFill>
                  <a:schemeClr val="bg1"/>
                </a:solidFill>
                <a:latin typeface="Gill Sans Light" pitchFamily="34" charset="0"/>
              </a:rPr>
              <a:t>Projeção de Investimentos de TI</a:t>
            </a:r>
            <a:endParaRPr lang="pt-BR" sz="2600" dirty="0">
              <a:solidFill>
                <a:schemeClr val="bg1"/>
              </a:solidFill>
              <a:latin typeface="Gill Sans Light" pitchFamily="34" charset="0"/>
            </a:endParaRPr>
          </a:p>
        </p:txBody>
      </p:sp>
      <p:graphicFrame>
        <p:nvGraphicFramePr>
          <p:cNvPr id="8" name="Diagrama 7"/>
          <p:cNvGraphicFramePr/>
          <p:nvPr>
            <p:extLst>
              <p:ext uri="{D42A27DB-BD31-4B8C-83A1-F6EECF244321}">
                <p14:modId xmlns:p14="http://schemas.microsoft.com/office/powerpoint/2010/main" val="4209607831"/>
              </p:ext>
            </p:extLst>
          </p:nvPr>
        </p:nvGraphicFramePr>
        <p:xfrm>
          <a:off x="179512" y="5805264"/>
          <a:ext cx="1391816" cy="1368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2050" name="Picture 2" descr="http://www.sinaprosp.org.br/adm/upload/crescimento%20aaaaaaaaaaa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6451" y="1925389"/>
            <a:ext cx="4991100" cy="3743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o explicativo retangular com cantos arredondados 9"/>
          <p:cNvSpPr/>
          <p:nvPr/>
        </p:nvSpPr>
        <p:spPr>
          <a:xfrm>
            <a:off x="7065165" y="76918"/>
            <a:ext cx="2240866" cy="1623889"/>
          </a:xfrm>
          <a:prstGeom prst="wedgeRoundRectCallout">
            <a:avLst>
              <a:gd name="adj1" fmla="val -155985"/>
              <a:gd name="adj2" fmla="val 190285"/>
              <a:gd name="adj3" fmla="val 16667"/>
            </a:avLst>
          </a:prstGeom>
          <a:solidFill>
            <a:srgbClr val="FFFF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 smtClean="0">
                <a:solidFill>
                  <a:schemeClr val="tx1"/>
                </a:solidFill>
              </a:rPr>
              <a:t>Substitua esta imagem pela sua Projeção de Investimentos</a:t>
            </a:r>
            <a:endParaRPr lang="pt-B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891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mv="urn:schemas-microsoft-com:mac:vml"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6"/>
          <a:stretch/>
        </p:blipFill>
        <p:spPr>
          <a:xfrm>
            <a:off x="0" y="17240"/>
            <a:ext cx="9144000" cy="6840760"/>
          </a:xfrm>
          <a:prstGeom prst="rect">
            <a:avLst/>
          </a:prstGeom>
        </p:spPr>
      </p:pic>
      <p:sp>
        <p:nvSpPr>
          <p:cNvPr id="3" name="Retângulo 2"/>
          <p:cNvSpPr>
            <a:spLocks noChangeArrowheads="1"/>
          </p:cNvSpPr>
          <p:nvPr/>
        </p:nvSpPr>
        <p:spPr bwMode="auto">
          <a:xfrm>
            <a:off x="251520" y="6021288"/>
            <a:ext cx="2495178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defTabSz="457200">
              <a:lnSpc>
                <a:spcPct val="90000"/>
              </a:lnSpc>
            </a:pPr>
            <a:r>
              <a:rPr lang="pt-BR" sz="2800" b="1" dirty="0">
                <a:solidFill>
                  <a:schemeClr val="accent1">
                    <a:lumMod val="50000"/>
                  </a:schemeClr>
                </a:solidFill>
                <a:latin typeface="Gill Sans Ultra Bold" pitchFamily="34" charset="0"/>
                <a:ea typeface="MS PGothic" charset="-128"/>
                <a:cs typeface="Arial" charset="0"/>
              </a:rPr>
              <a:t>Obrigado!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6516216" y="5818143"/>
            <a:ext cx="252028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>
                <a:solidFill>
                  <a:srgbClr val="858585"/>
                </a:solidFill>
              </a:rPr>
              <a:t>Nome</a:t>
            </a:r>
          </a:p>
          <a:p>
            <a:pPr algn="ctr"/>
            <a:r>
              <a:rPr lang="pt-BR" sz="1600" b="1" dirty="0" smtClean="0">
                <a:solidFill>
                  <a:srgbClr val="858585"/>
                </a:solidFill>
              </a:rPr>
              <a:t>Posição</a:t>
            </a:r>
          </a:p>
          <a:p>
            <a:pPr algn="ctr"/>
            <a:r>
              <a:rPr lang="pt-BR" sz="1600" b="1" dirty="0" smtClean="0">
                <a:solidFill>
                  <a:srgbClr val="858585"/>
                </a:solidFill>
              </a:rPr>
              <a:t>Área</a:t>
            </a:r>
            <a:endParaRPr lang="pt-BR" sz="1600" b="1" dirty="0">
              <a:solidFill>
                <a:srgbClr val="858585"/>
              </a:solidFill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7740352" y="138118"/>
            <a:ext cx="1368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>
                <a:solidFill>
                  <a:srgbClr val="858585"/>
                </a:solidFill>
              </a:rPr>
              <a:t>Set/2015</a:t>
            </a:r>
            <a:endParaRPr lang="pt-BR" sz="1600" b="1" dirty="0">
              <a:solidFill>
                <a:srgbClr val="858585"/>
              </a:solidFill>
            </a:endParaRPr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6867787" y="2335463"/>
            <a:ext cx="2240866" cy="1623889"/>
          </a:xfrm>
          <a:prstGeom prst="wedgeRoundRectCallout">
            <a:avLst>
              <a:gd name="adj1" fmla="val -6556"/>
              <a:gd name="adj2" fmla="val 167286"/>
              <a:gd name="adj3" fmla="val 16667"/>
            </a:avLst>
          </a:prstGeom>
          <a:solidFill>
            <a:srgbClr val="FFFF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 smtClean="0">
                <a:solidFill>
                  <a:schemeClr val="tx1"/>
                </a:solidFill>
              </a:rPr>
              <a:t>Preencha seus dados</a:t>
            </a:r>
            <a:endParaRPr lang="pt-B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402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o 3"/>
          <p:cNvGrpSpPr/>
          <p:nvPr/>
        </p:nvGrpSpPr>
        <p:grpSpPr>
          <a:xfrm>
            <a:off x="616675" y="620688"/>
            <a:ext cx="8102620" cy="6218185"/>
            <a:chOff x="616675" y="620688"/>
            <a:chExt cx="8102620" cy="6218185"/>
          </a:xfrm>
        </p:grpSpPr>
        <p:sp>
          <p:nvSpPr>
            <p:cNvPr id="8" name="Rectangle 15"/>
            <p:cNvSpPr>
              <a:spLocks/>
            </p:cNvSpPr>
            <p:nvPr/>
          </p:nvSpPr>
          <p:spPr bwMode="auto">
            <a:xfrm>
              <a:off x="987622" y="6382219"/>
              <a:ext cx="7720006" cy="45665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t"/>
            <a:lstStyle/>
            <a:p>
              <a:r>
                <a:rPr lang="en-US" sz="2600" dirty="0" smtClean="0">
                  <a:solidFill>
                    <a:srgbClr val="C00000"/>
                  </a:solidFill>
                  <a:latin typeface="Gill Sans Light" pitchFamily="34" charset="0"/>
                  <a:sym typeface="Gill Sans Std"/>
                </a:rPr>
                <a:t>Este slide </a:t>
              </a:r>
              <a:r>
                <a:rPr lang="en-US" sz="2600" dirty="0" err="1" smtClean="0">
                  <a:solidFill>
                    <a:srgbClr val="C00000"/>
                  </a:solidFill>
                  <a:latin typeface="Gill Sans Light" pitchFamily="34" charset="0"/>
                  <a:sym typeface="Gill Sans Std"/>
                </a:rPr>
                <a:t>pode</a:t>
              </a:r>
              <a:r>
                <a:rPr lang="en-US" sz="2600" dirty="0" smtClean="0">
                  <a:solidFill>
                    <a:srgbClr val="C00000"/>
                  </a:solidFill>
                  <a:latin typeface="Gill Sans Light" pitchFamily="34" charset="0"/>
                  <a:sym typeface="Gill Sans Std"/>
                </a:rPr>
                <a:t> </a:t>
              </a:r>
              <a:r>
                <a:rPr lang="en-US" sz="2600" dirty="0" err="1" smtClean="0">
                  <a:solidFill>
                    <a:srgbClr val="C00000"/>
                  </a:solidFill>
                  <a:latin typeface="Gill Sans Light" pitchFamily="34" charset="0"/>
                  <a:sym typeface="Gill Sans Std"/>
                </a:rPr>
                <a:t>ser</a:t>
              </a:r>
              <a:r>
                <a:rPr lang="en-US" sz="2600" dirty="0" smtClean="0">
                  <a:solidFill>
                    <a:srgbClr val="C00000"/>
                  </a:solidFill>
                  <a:latin typeface="Gill Sans Light" pitchFamily="34" charset="0"/>
                  <a:sym typeface="Gill Sans Std"/>
                </a:rPr>
                <a:t> </a:t>
              </a:r>
              <a:r>
                <a:rPr lang="en-US" sz="2600" dirty="0" err="1" smtClean="0">
                  <a:solidFill>
                    <a:srgbClr val="C00000"/>
                  </a:solidFill>
                  <a:latin typeface="Gill Sans Light" pitchFamily="34" charset="0"/>
                  <a:sym typeface="Gill Sans Std"/>
                </a:rPr>
                <a:t>deletado</a:t>
              </a:r>
              <a:r>
                <a:rPr lang="en-US" sz="2600" dirty="0" smtClean="0">
                  <a:solidFill>
                    <a:srgbClr val="C00000"/>
                  </a:solidFill>
                  <a:latin typeface="Gill Sans Light" pitchFamily="34" charset="0"/>
                  <a:sym typeface="Gill Sans Std"/>
                </a:rPr>
                <a:t> </a:t>
              </a:r>
              <a:r>
                <a:rPr lang="en-US" sz="2600" dirty="0" err="1" smtClean="0">
                  <a:solidFill>
                    <a:srgbClr val="C00000"/>
                  </a:solidFill>
                  <a:latin typeface="Gill Sans Light" pitchFamily="34" charset="0"/>
                  <a:sym typeface="Gill Sans Std"/>
                </a:rPr>
                <a:t>ao</a:t>
              </a:r>
              <a:r>
                <a:rPr lang="en-US" sz="2600" dirty="0">
                  <a:solidFill>
                    <a:srgbClr val="C00000"/>
                  </a:solidFill>
                  <a:latin typeface="Gill Sans Light" pitchFamily="34" charset="0"/>
                  <a:sym typeface="Gill Sans Std"/>
                </a:rPr>
                <a:t> </a:t>
              </a:r>
              <a:r>
                <a:rPr lang="en-US" sz="2600" dirty="0" err="1" smtClean="0">
                  <a:solidFill>
                    <a:srgbClr val="C00000"/>
                  </a:solidFill>
                  <a:latin typeface="Gill Sans Light" pitchFamily="34" charset="0"/>
                  <a:sym typeface="Gill Sans Std"/>
                </a:rPr>
                <a:t>concluir</a:t>
              </a:r>
              <a:r>
                <a:rPr lang="en-US" sz="2600" dirty="0" smtClean="0">
                  <a:solidFill>
                    <a:srgbClr val="C00000"/>
                  </a:solidFill>
                  <a:latin typeface="Gill Sans Light" pitchFamily="34" charset="0"/>
                  <a:sym typeface="Gill Sans Std"/>
                </a:rPr>
                <a:t> o PPT</a:t>
              </a:r>
              <a:endParaRPr lang="en-US" sz="2600" dirty="0">
                <a:solidFill>
                  <a:srgbClr val="C00000"/>
                </a:solidFill>
                <a:latin typeface="Gill Sans Light" pitchFamily="34" charset="0"/>
                <a:sym typeface="Gill Sans Std"/>
              </a:endParaRPr>
            </a:p>
            <a:p>
              <a:endParaRPr lang="pt-BR" sz="2600" dirty="0">
                <a:solidFill>
                  <a:srgbClr val="C00000"/>
                </a:solidFill>
                <a:latin typeface="Gill Sans Light" pitchFamily="34" charset="0"/>
                <a:sym typeface="Gill Sans Std"/>
              </a:endParaRPr>
            </a:p>
          </p:txBody>
        </p:sp>
        <p:sp>
          <p:nvSpPr>
            <p:cNvPr id="2" name="CaixaDeTexto 1"/>
            <p:cNvSpPr txBox="1"/>
            <p:nvPr/>
          </p:nvSpPr>
          <p:spPr>
            <a:xfrm>
              <a:off x="616675" y="620688"/>
              <a:ext cx="8102620" cy="4662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  <a:spcBef>
                  <a:spcPct val="20000"/>
                </a:spcBef>
                <a:spcAft>
                  <a:spcPct val="30000"/>
                </a:spcAft>
              </a:pP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Olá,</a:t>
              </a:r>
            </a:p>
            <a:p>
              <a:pPr>
                <a:lnSpc>
                  <a:spcPct val="80000"/>
                </a:lnSpc>
                <a:spcBef>
                  <a:spcPct val="20000"/>
                </a:spcBef>
                <a:spcAft>
                  <a:spcPct val="30000"/>
                </a:spcAft>
              </a:pP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Este material foi elaborado para ajudar as empresas a ser organizarem e ganharem competitividade neste momento de transformação que o mundo está vivenciando.</a:t>
              </a:r>
            </a:p>
            <a:p>
              <a:pPr>
                <a:lnSpc>
                  <a:spcPct val="80000"/>
                </a:lnSpc>
                <a:spcBef>
                  <a:spcPct val="20000"/>
                </a:spcBef>
                <a:spcAft>
                  <a:spcPct val="30000"/>
                </a:spcAft>
              </a:pP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Conte </a:t>
              </a:r>
              <a:r>
                <a:rPr lang="pt-BR" dirty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com a UP2Place para </a:t>
              </a: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ajudá-lo </a:t>
              </a:r>
              <a:r>
                <a:rPr lang="pt-BR" dirty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na elaboração do seu Plano Estratégico de </a:t>
              </a: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TI.</a:t>
              </a:r>
              <a:endParaRPr lang="pt-BR" dirty="0">
                <a:solidFill>
                  <a:schemeClr val="accent1">
                    <a:lumMod val="50000"/>
                  </a:schemeClr>
                </a:solidFill>
                <a:latin typeface="Gill Sans" pitchFamily="34" charset="0"/>
              </a:endParaRPr>
            </a:p>
            <a:p>
              <a:pPr>
                <a:lnSpc>
                  <a:spcPct val="80000"/>
                </a:lnSpc>
                <a:spcBef>
                  <a:spcPct val="20000"/>
                </a:spcBef>
                <a:spcAft>
                  <a:spcPct val="30000"/>
                </a:spcAft>
              </a:pP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Colocamos nosso time de </a:t>
              </a: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especialistas </a:t>
              </a: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à sua disposição para lhe prover suporte ou mesmo uma ajuda pontual. </a:t>
              </a:r>
            </a:p>
            <a:p>
              <a:pPr>
                <a:lnSpc>
                  <a:spcPct val="80000"/>
                </a:lnSpc>
                <a:spcBef>
                  <a:spcPct val="20000"/>
                </a:spcBef>
                <a:spcAft>
                  <a:spcPct val="30000"/>
                </a:spcAft>
              </a:pP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Este suporte poderá ser realizado via </a:t>
              </a:r>
              <a:r>
                <a:rPr lang="pt-BR" dirty="0" err="1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webconference</a:t>
              </a: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 sem nenhum custo para sua empresa.</a:t>
              </a:r>
            </a:p>
            <a:p>
              <a:pPr>
                <a:lnSpc>
                  <a:spcPct val="80000"/>
                </a:lnSpc>
                <a:spcBef>
                  <a:spcPct val="20000"/>
                </a:spcBef>
                <a:spcAft>
                  <a:spcPct val="30000"/>
                </a:spcAft>
              </a:pP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Sucesso!</a:t>
              </a:r>
            </a:p>
            <a:p>
              <a:pPr>
                <a:lnSpc>
                  <a:spcPct val="80000"/>
                </a:lnSpc>
                <a:spcBef>
                  <a:spcPct val="20000"/>
                </a:spcBef>
                <a:spcAft>
                  <a:spcPct val="30000"/>
                </a:spcAft>
              </a:pP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Sidnei Gonçalves</a:t>
              </a:r>
            </a:p>
            <a:p>
              <a:pPr>
                <a:lnSpc>
                  <a:spcPct val="80000"/>
                </a:lnSpc>
                <a:spcBef>
                  <a:spcPct val="20000"/>
                </a:spcBef>
                <a:spcAft>
                  <a:spcPct val="30000"/>
                </a:spcAft>
              </a:pP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  <a:hlinkClick r:id="rId2"/>
                </a:rPr>
                <a:t>Sidnei.goncalves@up2place.com.br</a:t>
              </a:r>
              <a:endParaRPr lang="pt-BR" dirty="0" smtClean="0">
                <a:solidFill>
                  <a:schemeClr val="accent1">
                    <a:lumMod val="50000"/>
                  </a:schemeClr>
                </a:solidFill>
                <a:latin typeface="Gill Sans" pitchFamily="34" charset="0"/>
              </a:endParaRPr>
            </a:p>
            <a:p>
              <a:pPr>
                <a:lnSpc>
                  <a:spcPct val="80000"/>
                </a:lnSpc>
                <a:spcBef>
                  <a:spcPct val="20000"/>
                </a:spcBef>
                <a:spcAft>
                  <a:spcPct val="30000"/>
                </a:spcAft>
              </a:pP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11 3198-3696</a:t>
              </a:r>
            </a:p>
            <a:p>
              <a:pPr>
                <a:lnSpc>
                  <a:spcPct val="80000"/>
                </a:lnSpc>
                <a:spcBef>
                  <a:spcPct val="20000"/>
                </a:spcBef>
                <a:spcAft>
                  <a:spcPct val="30000"/>
                </a:spcAft>
              </a:pPr>
              <a:r>
                <a:rPr lang="pt-BR" dirty="0" smtClean="0">
                  <a:solidFill>
                    <a:schemeClr val="accent1">
                      <a:lumMod val="50000"/>
                    </a:schemeClr>
                  </a:solidFill>
                  <a:latin typeface="Gill Sans" pitchFamily="34" charset="0"/>
                </a:rPr>
                <a:t>www.up2place.com.br</a:t>
              </a:r>
              <a:endParaRPr lang="pt-BR" dirty="0"/>
            </a:p>
          </p:txBody>
        </p:sp>
        <p:pic>
          <p:nvPicPr>
            <p:cNvPr id="3" name="Imagem 2">
              <a:hlinkClick r:id="rId3"/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40152" y="3376442"/>
              <a:ext cx="1916832" cy="19168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3410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-36512" y="1412776"/>
            <a:ext cx="9180512" cy="3294906"/>
          </a:xfrm>
          <a:prstGeom prst="rect">
            <a:avLst/>
          </a:prstGeom>
          <a:noFill/>
        </p:spPr>
      </p:pic>
      <p:pic>
        <p:nvPicPr>
          <p:cNvPr id="34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-36512" y="4149080"/>
            <a:ext cx="9180512" cy="3168352"/>
          </a:xfrm>
          <a:prstGeom prst="rect">
            <a:avLst/>
          </a:prstGeom>
          <a:noFill/>
        </p:spPr>
      </p:pic>
      <p:sp>
        <p:nvSpPr>
          <p:cNvPr id="9" name="Retângulo 6"/>
          <p:cNvSpPr>
            <a:spLocks noChangeArrowheads="1"/>
          </p:cNvSpPr>
          <p:nvPr/>
        </p:nvSpPr>
        <p:spPr bwMode="auto">
          <a:xfrm>
            <a:off x="277812" y="1754188"/>
            <a:ext cx="2503488" cy="739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en-US" sz="2800" dirty="0" err="1">
                <a:solidFill>
                  <a:schemeClr val="bg1"/>
                </a:solidFill>
                <a:latin typeface="Gill Sans" pitchFamily="34" charset="0"/>
                <a:cs typeface="Times New Roman" pitchFamily="18" charset="0"/>
                <a:sym typeface="Gill Sans Std"/>
              </a:rPr>
              <a:t>Tendências</a:t>
            </a:r>
            <a:r>
              <a:rPr lang="en-US" sz="2800" dirty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  <a:sym typeface="Gill Sans Std"/>
              </a:rPr>
              <a:t> </a:t>
            </a:r>
            <a:r>
              <a:rPr lang="en-US" sz="2800" dirty="0" err="1">
                <a:solidFill>
                  <a:schemeClr val="bg1"/>
                </a:solidFill>
                <a:latin typeface="Gill Sans" pitchFamily="34" charset="0"/>
                <a:cs typeface="Times New Roman" pitchFamily="18" charset="0"/>
                <a:sym typeface="Gill Sans Std"/>
              </a:rPr>
              <a:t>Tecnológicas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sp>
        <p:nvSpPr>
          <p:cNvPr id="10" name="Retângulo 6"/>
          <p:cNvSpPr>
            <a:spLocks noChangeArrowheads="1"/>
          </p:cNvSpPr>
          <p:nvPr/>
        </p:nvSpPr>
        <p:spPr bwMode="auto">
          <a:xfrm>
            <a:off x="3390900" y="1911350"/>
            <a:ext cx="2695575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Realizações</a:t>
            </a:r>
          </a:p>
        </p:txBody>
      </p:sp>
      <p:sp>
        <p:nvSpPr>
          <p:cNvPr id="11" name="Retângulo 6"/>
          <p:cNvSpPr>
            <a:spLocks noChangeArrowheads="1"/>
          </p:cNvSpPr>
          <p:nvPr/>
        </p:nvSpPr>
        <p:spPr bwMode="auto">
          <a:xfrm>
            <a:off x="6443663" y="1813361"/>
            <a:ext cx="252095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 smtClean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Nossa</a:t>
            </a:r>
          </a:p>
          <a:p>
            <a:pPr algn="ctr" eaLnBrk="0" hangingPunct="0">
              <a:lnSpc>
                <a:spcPct val="75000"/>
              </a:lnSpc>
            </a:pPr>
            <a:r>
              <a:rPr lang="pt-BR" sz="2800" dirty="0" smtClean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Maturidade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sp>
        <p:nvSpPr>
          <p:cNvPr id="13" name="Retângulo 6"/>
          <p:cNvSpPr>
            <a:spLocks noChangeArrowheads="1"/>
          </p:cNvSpPr>
          <p:nvPr/>
        </p:nvSpPr>
        <p:spPr bwMode="auto">
          <a:xfrm>
            <a:off x="3224213" y="4707682"/>
            <a:ext cx="2695575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 err="1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Roadmap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sp>
        <p:nvSpPr>
          <p:cNvPr id="14" name="Retângulo 6"/>
          <p:cNvSpPr>
            <a:spLocks noChangeArrowheads="1"/>
          </p:cNvSpPr>
          <p:nvPr/>
        </p:nvSpPr>
        <p:spPr bwMode="auto">
          <a:xfrm>
            <a:off x="6362700" y="4740731"/>
            <a:ext cx="2660650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 smtClean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Investimentos</a:t>
            </a:r>
            <a:endParaRPr lang="pt-BR" sz="2800" dirty="0">
              <a:solidFill>
                <a:schemeClr val="bg1"/>
              </a:solidFill>
              <a:latin typeface="Gill Sans" pitchFamily="34" charset="0"/>
              <a:cs typeface="Times New Roman" pitchFamily="18" charset="0"/>
            </a:endParaRPr>
          </a:p>
        </p:txBody>
      </p:sp>
      <p:cxnSp>
        <p:nvCxnSpPr>
          <p:cNvPr id="24" name="Conector reto 23"/>
          <p:cNvCxnSpPr/>
          <p:nvPr/>
        </p:nvCxnSpPr>
        <p:spPr>
          <a:xfrm>
            <a:off x="2949575" y="1878013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to 24"/>
          <p:cNvCxnSpPr/>
          <p:nvPr/>
        </p:nvCxnSpPr>
        <p:spPr>
          <a:xfrm>
            <a:off x="6215063" y="1878013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to 25"/>
          <p:cNvCxnSpPr/>
          <p:nvPr/>
        </p:nvCxnSpPr>
        <p:spPr>
          <a:xfrm>
            <a:off x="2947988" y="4615607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to 26"/>
          <p:cNvCxnSpPr/>
          <p:nvPr/>
        </p:nvCxnSpPr>
        <p:spPr>
          <a:xfrm>
            <a:off x="6200775" y="4615607"/>
            <a:ext cx="0" cy="5524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Diagrama 22"/>
          <p:cNvGraphicFramePr/>
          <p:nvPr>
            <p:extLst>
              <p:ext uri="{D42A27DB-BD31-4B8C-83A1-F6EECF244321}">
                <p14:modId xmlns:p14="http://schemas.microsoft.com/office/powerpoint/2010/main" val="780590038"/>
              </p:ext>
            </p:extLst>
          </p:nvPr>
        </p:nvGraphicFramePr>
        <p:xfrm>
          <a:off x="155848" y="188640"/>
          <a:ext cx="1391816" cy="1368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0" name="Retângulo 6"/>
          <p:cNvSpPr>
            <a:spLocks noChangeArrowheads="1"/>
          </p:cNvSpPr>
          <p:nvPr/>
        </p:nvSpPr>
        <p:spPr bwMode="auto">
          <a:xfrm>
            <a:off x="117475" y="4661644"/>
            <a:ext cx="2695575" cy="416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</a:pPr>
            <a:r>
              <a:rPr lang="pt-BR" sz="2800" dirty="0">
                <a:solidFill>
                  <a:schemeClr val="bg1"/>
                </a:solidFill>
                <a:latin typeface="Gill Sans" pitchFamily="34" charset="0"/>
                <a:cs typeface="Times New Roman" pitchFamily="18" charset="0"/>
              </a:rPr>
              <a:t>Uma Nova TI</a:t>
            </a:r>
          </a:p>
        </p:txBody>
      </p:sp>
      <p:sp>
        <p:nvSpPr>
          <p:cNvPr id="31" name="Retângulo 3"/>
          <p:cNvSpPr>
            <a:spLocks noChangeArrowheads="1"/>
          </p:cNvSpPr>
          <p:nvPr/>
        </p:nvSpPr>
        <p:spPr bwMode="auto">
          <a:xfrm>
            <a:off x="3092450" y="180187"/>
            <a:ext cx="3108543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/>
            <a:r>
              <a:rPr lang="pt-BR" sz="5400" dirty="0">
                <a:solidFill>
                  <a:schemeClr val="accent1">
                    <a:lumMod val="50000"/>
                  </a:schemeClr>
                </a:solidFill>
                <a:latin typeface="Gill Sans Light" pitchFamily="34" charset="0"/>
                <a:cs typeface="Times New Roman" pitchFamily="18" charset="0"/>
              </a:rPr>
              <a:t>AGENDA</a:t>
            </a:r>
          </a:p>
        </p:txBody>
      </p:sp>
      <p:pic>
        <p:nvPicPr>
          <p:cNvPr id="16" name="Imagem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6226" y="2535598"/>
            <a:ext cx="1720970" cy="1541474"/>
          </a:xfrm>
          <a:prstGeom prst="rect">
            <a:avLst/>
          </a:prstGeom>
          <a:ln>
            <a:noFill/>
          </a:ln>
        </p:spPr>
      </p:pic>
      <p:graphicFrame>
        <p:nvGraphicFramePr>
          <p:cNvPr id="40" name="Diagrama 39"/>
          <p:cNvGraphicFramePr/>
          <p:nvPr>
            <p:extLst>
              <p:ext uri="{D42A27DB-BD31-4B8C-83A1-F6EECF244321}">
                <p14:modId xmlns:p14="http://schemas.microsoft.com/office/powerpoint/2010/main" val="2900918249"/>
              </p:ext>
            </p:extLst>
          </p:nvPr>
        </p:nvGraphicFramePr>
        <p:xfrm>
          <a:off x="3950812" y="2492895"/>
          <a:ext cx="1773316" cy="15511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41" name="Diagrama 40"/>
          <p:cNvGraphicFramePr/>
          <p:nvPr>
            <p:extLst>
              <p:ext uri="{D42A27DB-BD31-4B8C-83A1-F6EECF244321}">
                <p14:modId xmlns:p14="http://schemas.microsoft.com/office/powerpoint/2010/main" val="3921451216"/>
              </p:ext>
            </p:extLst>
          </p:nvPr>
        </p:nvGraphicFramePr>
        <p:xfrm>
          <a:off x="6804248" y="2540769"/>
          <a:ext cx="2088357" cy="15363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graphicFrame>
        <p:nvGraphicFramePr>
          <p:cNvPr id="42" name="Diagrama 41"/>
          <p:cNvGraphicFramePr/>
          <p:nvPr>
            <p:extLst>
              <p:ext uri="{D42A27DB-BD31-4B8C-83A1-F6EECF244321}">
                <p14:modId xmlns:p14="http://schemas.microsoft.com/office/powerpoint/2010/main" val="1264599728"/>
              </p:ext>
            </p:extLst>
          </p:nvPr>
        </p:nvGraphicFramePr>
        <p:xfrm>
          <a:off x="666227" y="5124143"/>
          <a:ext cx="1720970" cy="1560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  <p:graphicFrame>
        <p:nvGraphicFramePr>
          <p:cNvPr id="43" name="Diagrama 42"/>
          <p:cNvGraphicFramePr/>
          <p:nvPr>
            <p:extLst>
              <p:ext uri="{D42A27DB-BD31-4B8C-83A1-F6EECF244321}">
                <p14:modId xmlns:p14="http://schemas.microsoft.com/office/powerpoint/2010/main" val="1287757807"/>
              </p:ext>
            </p:extLst>
          </p:nvPr>
        </p:nvGraphicFramePr>
        <p:xfrm>
          <a:off x="3707904" y="5162458"/>
          <a:ext cx="1759129" cy="14674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4" r:lo="rId25" r:qs="rId26" r:cs="rId27"/>
          </a:graphicData>
        </a:graphic>
      </p:graphicFrame>
      <p:graphicFrame>
        <p:nvGraphicFramePr>
          <p:cNvPr id="44" name="Diagrama 43"/>
          <p:cNvGraphicFramePr/>
          <p:nvPr>
            <p:extLst>
              <p:ext uri="{D42A27DB-BD31-4B8C-83A1-F6EECF244321}">
                <p14:modId xmlns:p14="http://schemas.microsoft.com/office/powerpoint/2010/main" val="4095935200"/>
              </p:ext>
            </p:extLst>
          </p:nvPr>
        </p:nvGraphicFramePr>
        <p:xfrm>
          <a:off x="6804247" y="5136699"/>
          <a:ext cx="1915571" cy="15121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9" r:lo="rId30" r:qs="rId31" r:cs="rId32"/>
          </a:graphicData>
        </a:graphic>
      </p:graphicFrame>
      <p:sp>
        <p:nvSpPr>
          <p:cNvPr id="18" name="Seta para baixo 17"/>
          <p:cNvSpPr/>
          <p:nvPr/>
        </p:nvSpPr>
        <p:spPr>
          <a:xfrm rot="3556369">
            <a:off x="2582107" y="1177331"/>
            <a:ext cx="792088" cy="1048657"/>
          </a:xfrm>
          <a:prstGeom prst="downArrow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sp>
        <p:nvSpPr>
          <p:cNvPr id="47" name="Texto explicativo retangular com cantos arredondados 46"/>
          <p:cNvSpPr/>
          <p:nvPr/>
        </p:nvSpPr>
        <p:spPr>
          <a:xfrm>
            <a:off x="6362700" y="84142"/>
            <a:ext cx="2240866" cy="1623889"/>
          </a:xfrm>
          <a:prstGeom prst="wedgeRoundRectCallout">
            <a:avLst>
              <a:gd name="adj1" fmla="val -298517"/>
              <a:gd name="adj2" fmla="val -10366"/>
              <a:gd name="adj3" fmla="val 16667"/>
            </a:avLst>
          </a:prstGeom>
          <a:solidFill>
            <a:srgbClr val="FFFF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 smtClean="0">
                <a:solidFill>
                  <a:schemeClr val="tx1"/>
                </a:solidFill>
              </a:rPr>
              <a:t>CLICK na imagem para incluir o logotipo da sua empresa</a:t>
            </a:r>
          </a:p>
          <a:p>
            <a:pPr algn="ctr"/>
            <a:endParaRPr lang="pt-BR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3" grpId="0"/>
      <p:bldP spid="14" grpId="0"/>
      <p:bldP spid="30" grpId="0"/>
      <p:bldP spid="1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1" y="1844824"/>
            <a:ext cx="9144000" cy="3888432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pic>
        <p:nvPicPr>
          <p:cNvPr id="16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0" y="260648"/>
            <a:ext cx="8077200" cy="1600200"/>
          </a:xfrm>
          <a:prstGeom prst="rect">
            <a:avLst/>
          </a:prstGeom>
          <a:noFill/>
        </p:spPr>
      </p:pic>
      <p:sp>
        <p:nvSpPr>
          <p:cNvPr id="17" name="Rectangle 15"/>
          <p:cNvSpPr>
            <a:spLocks/>
          </p:cNvSpPr>
          <p:nvPr/>
        </p:nvSpPr>
        <p:spPr bwMode="auto">
          <a:xfrm>
            <a:off x="956450" y="692696"/>
            <a:ext cx="6711894" cy="45665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t"/>
          <a:lstStyle/>
          <a:p>
            <a:r>
              <a:rPr lang="en-US" sz="2600" dirty="0">
                <a:solidFill>
                  <a:schemeClr val="bg1"/>
                </a:solidFill>
                <a:latin typeface="Gill Sans Light" pitchFamily="34" charset="0"/>
                <a:sym typeface="Gill Sans Std"/>
              </a:rPr>
              <a:t>TENDÊNCIAS </a:t>
            </a:r>
            <a:r>
              <a:rPr lang="en-US" sz="2600" dirty="0" smtClean="0">
                <a:solidFill>
                  <a:schemeClr val="bg1"/>
                </a:solidFill>
                <a:latin typeface="Gill Sans Light" pitchFamily="34" charset="0"/>
                <a:sym typeface="Gill Sans Std"/>
              </a:rPr>
              <a:t>TECNOLÓGICAS</a:t>
            </a:r>
            <a:endParaRPr lang="en-US" sz="2600" dirty="0">
              <a:solidFill>
                <a:schemeClr val="bg1"/>
              </a:solidFill>
              <a:latin typeface="Gill Sans Light" pitchFamily="34" charset="0"/>
              <a:sym typeface="Gill Sans Std"/>
            </a:endParaRPr>
          </a:p>
          <a:p>
            <a:endParaRPr lang="pt-BR" sz="2600" dirty="0">
              <a:solidFill>
                <a:schemeClr val="bg1"/>
              </a:solidFill>
              <a:latin typeface="Gill Sans Light" pitchFamily="34" charset="0"/>
              <a:sym typeface="Gill Sans Std"/>
            </a:endParaRPr>
          </a:p>
        </p:txBody>
      </p:sp>
      <p:graphicFrame>
        <p:nvGraphicFramePr>
          <p:cNvPr id="18" name="Diagrama 17"/>
          <p:cNvGraphicFramePr/>
          <p:nvPr/>
        </p:nvGraphicFramePr>
        <p:xfrm>
          <a:off x="179512" y="5805264"/>
          <a:ext cx="1391816" cy="1368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56677" name="CaixaDeTexto 2"/>
          <p:cNvSpPr txBox="1">
            <a:spLocks noChangeArrowheads="1"/>
          </p:cNvSpPr>
          <p:nvPr/>
        </p:nvSpPr>
        <p:spPr bwMode="auto">
          <a:xfrm>
            <a:off x="683568" y="2135957"/>
            <a:ext cx="8064896" cy="19411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80000"/>
              </a:lnSpc>
              <a:spcBef>
                <a:spcPct val="20000"/>
              </a:spcBef>
              <a:spcAft>
                <a:spcPct val="30000"/>
              </a:spcAft>
              <a:buFont typeface="Arial" charset="0"/>
              <a:buNone/>
            </a:pPr>
            <a:r>
              <a:rPr lang="pt-BR" dirty="0">
                <a:solidFill>
                  <a:srgbClr val="C00000"/>
                </a:solidFill>
                <a:latin typeface="Gill Sans" pitchFamily="34" charset="0"/>
              </a:rPr>
              <a:t>O varejo irá focar no </a:t>
            </a:r>
            <a:r>
              <a:rPr lang="pt-BR" dirty="0" err="1" smtClean="0">
                <a:solidFill>
                  <a:srgbClr val="C00000"/>
                </a:solidFill>
                <a:latin typeface="Gill Sans" pitchFamily="34" charset="0"/>
              </a:rPr>
              <a:t>serviço</a:t>
            </a:r>
            <a:r>
              <a:rPr lang="pt-BR" dirty="0" err="1" smtClean="0">
                <a:solidFill>
                  <a:srgbClr val="666666"/>
                </a:solidFill>
                <a:latin typeface="Gill Sans" pitchFamily="34" charset="0"/>
              </a:rPr>
              <a:t>,tudo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pode ser comprado online e essa realidade só vai aumentar. Assim, o varejo deverá fazer o mesmo ao vender serviços. Restaurantes,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spas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, casas de show: tudo poderá e deverá ser vendido pela internet. (Michael Portman, do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Birds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Barbershop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)</a:t>
            </a:r>
          </a:p>
          <a:p>
            <a:pPr>
              <a:lnSpc>
                <a:spcPct val="80000"/>
              </a:lnSpc>
              <a:spcBef>
                <a:spcPct val="20000"/>
              </a:spcBef>
              <a:spcAft>
                <a:spcPct val="30000"/>
              </a:spcAft>
              <a:buFont typeface="Arial" charset="0"/>
              <a:buNone/>
            </a:pPr>
            <a:r>
              <a:rPr lang="pt-BR" dirty="0">
                <a:solidFill>
                  <a:srgbClr val="C00000"/>
                </a:solidFill>
                <a:latin typeface="Gill Sans" pitchFamily="34" charset="0"/>
              </a:rPr>
              <a:t>As empresas usarão mais as mensagens de </a:t>
            </a:r>
            <a:r>
              <a:rPr lang="pt-BR" dirty="0" smtClean="0">
                <a:solidFill>
                  <a:srgbClr val="C00000"/>
                </a:solidFill>
                <a:latin typeface="Gill Sans" pitchFamily="34" charset="0"/>
              </a:rPr>
              <a:t>texto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, o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"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texting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" - mandar uma mensagem de texto, seja por WhatsApp, SMS ou outro serviço - será cada vez mais comum para empresas se comunicarem com seus clientes. E-mails estão sendo cada vez menos usados. Vendas, acordos, avisos: tudo poderá ser resolvido com uma breve e prática mensagem de texto. Essa tendência ainda atrairá mais jovens consumidores e trabalhadores para a companhia. (Drew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Gurley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, do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Redbird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Advisors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)</a:t>
            </a:r>
          </a:p>
        </p:txBody>
      </p:sp>
      <p:sp>
        <p:nvSpPr>
          <p:cNvPr id="8" name="Texto explicativo retangular com cantos arredondados 7"/>
          <p:cNvSpPr/>
          <p:nvPr/>
        </p:nvSpPr>
        <p:spPr>
          <a:xfrm>
            <a:off x="6300192" y="4993319"/>
            <a:ext cx="2240866" cy="1623889"/>
          </a:xfrm>
          <a:prstGeom prst="wedgeRoundRectCallout">
            <a:avLst>
              <a:gd name="adj1" fmla="val -295069"/>
              <a:gd name="adj2" fmla="val 30081"/>
              <a:gd name="adj3" fmla="val 16667"/>
            </a:avLst>
          </a:prstGeom>
          <a:solidFill>
            <a:srgbClr val="FFFF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b="1" dirty="0" smtClean="0">
                <a:solidFill>
                  <a:schemeClr val="tx1"/>
                </a:solidFill>
              </a:rPr>
              <a:t>CLICK na imagem para incluir o logotipo da sua empresa</a:t>
            </a:r>
          </a:p>
          <a:p>
            <a:pPr algn="ctr"/>
            <a:endParaRPr lang="pt-B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343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6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66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667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1" y="1844824"/>
            <a:ext cx="9144000" cy="3888432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pic>
        <p:nvPicPr>
          <p:cNvPr id="16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0" y="260648"/>
            <a:ext cx="8077200" cy="1600200"/>
          </a:xfrm>
          <a:prstGeom prst="rect">
            <a:avLst/>
          </a:prstGeom>
          <a:noFill/>
        </p:spPr>
      </p:pic>
      <p:sp>
        <p:nvSpPr>
          <p:cNvPr id="17" name="Rectangle 15"/>
          <p:cNvSpPr>
            <a:spLocks/>
          </p:cNvSpPr>
          <p:nvPr/>
        </p:nvSpPr>
        <p:spPr bwMode="auto">
          <a:xfrm>
            <a:off x="956450" y="692696"/>
            <a:ext cx="6711894" cy="45665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t"/>
          <a:lstStyle/>
          <a:p>
            <a:r>
              <a:rPr lang="en-US" sz="2600" dirty="0">
                <a:solidFill>
                  <a:schemeClr val="bg1"/>
                </a:solidFill>
                <a:latin typeface="Gill Sans Light" pitchFamily="34" charset="0"/>
                <a:sym typeface="Gill Sans Std"/>
              </a:rPr>
              <a:t>TENDÊNCIAS </a:t>
            </a:r>
            <a:r>
              <a:rPr lang="en-US" sz="2600" dirty="0" smtClean="0">
                <a:solidFill>
                  <a:schemeClr val="bg1"/>
                </a:solidFill>
                <a:latin typeface="Gill Sans Light" pitchFamily="34" charset="0"/>
                <a:sym typeface="Gill Sans Std"/>
              </a:rPr>
              <a:t>TECNOLÓGICAS</a:t>
            </a:r>
            <a:endParaRPr lang="en-US" sz="2600" dirty="0">
              <a:solidFill>
                <a:schemeClr val="bg1"/>
              </a:solidFill>
              <a:latin typeface="Gill Sans Light" pitchFamily="34" charset="0"/>
              <a:sym typeface="Gill Sans Std"/>
            </a:endParaRPr>
          </a:p>
          <a:p>
            <a:endParaRPr lang="pt-BR" sz="2600" dirty="0">
              <a:solidFill>
                <a:schemeClr val="bg1"/>
              </a:solidFill>
              <a:latin typeface="Gill Sans Light" pitchFamily="34" charset="0"/>
              <a:sym typeface="Gill Sans Std"/>
            </a:endParaRPr>
          </a:p>
        </p:txBody>
      </p:sp>
      <p:graphicFrame>
        <p:nvGraphicFramePr>
          <p:cNvPr id="18" name="Diagrama 17"/>
          <p:cNvGraphicFramePr/>
          <p:nvPr/>
        </p:nvGraphicFramePr>
        <p:xfrm>
          <a:off x="179512" y="5805264"/>
          <a:ext cx="1391816" cy="1368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56677" name="CaixaDeTexto 2"/>
          <p:cNvSpPr txBox="1">
            <a:spLocks noChangeArrowheads="1"/>
          </p:cNvSpPr>
          <p:nvPr/>
        </p:nvSpPr>
        <p:spPr bwMode="auto">
          <a:xfrm>
            <a:off x="683568" y="2135957"/>
            <a:ext cx="8064896" cy="19411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80000"/>
              </a:lnSpc>
              <a:spcBef>
                <a:spcPct val="20000"/>
              </a:spcBef>
              <a:spcAft>
                <a:spcPct val="30000"/>
              </a:spcAft>
              <a:buFont typeface="Arial" charset="0"/>
              <a:buNone/>
            </a:pPr>
            <a:r>
              <a:rPr lang="pt-BR" dirty="0">
                <a:solidFill>
                  <a:srgbClr val="C00000"/>
                </a:solidFill>
                <a:latin typeface="Gill Sans" pitchFamily="34" charset="0"/>
              </a:rPr>
              <a:t>A habilidade de ser autêntico será </a:t>
            </a:r>
            <a:r>
              <a:rPr lang="pt-BR" dirty="0" smtClean="0">
                <a:solidFill>
                  <a:srgbClr val="C00000"/>
                </a:solidFill>
                <a:latin typeface="Gill Sans" pitchFamily="34" charset="0"/>
              </a:rPr>
              <a:t>valorizada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, nos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últimos tempos, tudo parece igual em termos de produtos e consumo. Carros, celulares,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tablets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, franquias... É como se quisessem se parecer com seus competidores. Mas a habilidade de ser autêntico e único voltará com tudo. O produto ou serviço entregue de maneira exemplar e única atrairá os consumidores. (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Souny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West, do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CHiC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Capital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)</a:t>
            </a:r>
          </a:p>
          <a:p>
            <a:pPr>
              <a:lnSpc>
                <a:spcPct val="80000"/>
              </a:lnSpc>
              <a:spcBef>
                <a:spcPct val="20000"/>
              </a:spcBef>
              <a:spcAft>
                <a:spcPct val="30000"/>
              </a:spcAft>
              <a:buFont typeface="Arial" charset="0"/>
              <a:buNone/>
            </a:pPr>
            <a:r>
              <a:rPr lang="pt-BR" dirty="0">
                <a:solidFill>
                  <a:srgbClr val="C00000"/>
                </a:solidFill>
                <a:latin typeface="Gill Sans" pitchFamily="34" charset="0"/>
              </a:rPr>
              <a:t>Pagamentos via celular mais </a:t>
            </a:r>
            <a:r>
              <a:rPr lang="pt-BR" dirty="0" smtClean="0">
                <a:solidFill>
                  <a:srgbClr val="C00000"/>
                </a:solidFill>
                <a:latin typeface="Gill Sans" pitchFamily="34" charset="0"/>
              </a:rPr>
              <a:t>comuns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, o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pagamento via mobile já evoluiu com bons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apps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de eBay,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Amazon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,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PayPal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e outros. Agora, a tendência é melhorar e expandir o serviço com chaves de segurança e proteção de informações. Programas como Apple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Pay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e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CurrentC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já permitem comprar qualquer coisa usando o smartphone. Talvez eles substituam os cartões de crédito em cinco anos. (Anthony Johnson, do American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Injury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Attorney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Group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06087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6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66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667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1" y="1844824"/>
            <a:ext cx="9144000" cy="3888432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pic>
        <p:nvPicPr>
          <p:cNvPr id="16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0" y="260648"/>
            <a:ext cx="8077200" cy="1600200"/>
          </a:xfrm>
          <a:prstGeom prst="rect">
            <a:avLst/>
          </a:prstGeom>
          <a:noFill/>
        </p:spPr>
      </p:pic>
      <p:sp>
        <p:nvSpPr>
          <p:cNvPr id="17" name="Rectangle 15"/>
          <p:cNvSpPr>
            <a:spLocks/>
          </p:cNvSpPr>
          <p:nvPr/>
        </p:nvSpPr>
        <p:spPr bwMode="auto">
          <a:xfrm>
            <a:off x="956450" y="692696"/>
            <a:ext cx="6711894" cy="45665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t"/>
          <a:lstStyle/>
          <a:p>
            <a:r>
              <a:rPr lang="en-US" sz="2600" dirty="0">
                <a:solidFill>
                  <a:schemeClr val="bg1"/>
                </a:solidFill>
                <a:latin typeface="Gill Sans Light" pitchFamily="34" charset="0"/>
                <a:sym typeface="Gill Sans Std"/>
              </a:rPr>
              <a:t>TENDÊNCIAS </a:t>
            </a:r>
            <a:r>
              <a:rPr lang="en-US" sz="2600" dirty="0" smtClean="0">
                <a:solidFill>
                  <a:schemeClr val="bg1"/>
                </a:solidFill>
                <a:latin typeface="Gill Sans Light" pitchFamily="34" charset="0"/>
                <a:sym typeface="Gill Sans Std"/>
              </a:rPr>
              <a:t>TECNOLÓGICAS</a:t>
            </a:r>
            <a:endParaRPr lang="en-US" sz="2600" dirty="0">
              <a:solidFill>
                <a:schemeClr val="bg1"/>
              </a:solidFill>
              <a:latin typeface="Gill Sans Light" pitchFamily="34" charset="0"/>
              <a:sym typeface="Gill Sans Std"/>
            </a:endParaRPr>
          </a:p>
          <a:p>
            <a:endParaRPr lang="pt-BR" sz="2600" dirty="0">
              <a:solidFill>
                <a:schemeClr val="bg1"/>
              </a:solidFill>
              <a:latin typeface="Gill Sans Light" pitchFamily="34" charset="0"/>
              <a:sym typeface="Gill Sans Std"/>
            </a:endParaRPr>
          </a:p>
        </p:txBody>
      </p:sp>
      <p:graphicFrame>
        <p:nvGraphicFramePr>
          <p:cNvPr id="18" name="Diagrama 17"/>
          <p:cNvGraphicFramePr/>
          <p:nvPr/>
        </p:nvGraphicFramePr>
        <p:xfrm>
          <a:off x="179512" y="5805264"/>
          <a:ext cx="1391816" cy="1368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56677" name="CaixaDeTexto 2"/>
          <p:cNvSpPr txBox="1">
            <a:spLocks noChangeArrowheads="1"/>
          </p:cNvSpPr>
          <p:nvPr/>
        </p:nvSpPr>
        <p:spPr bwMode="auto">
          <a:xfrm>
            <a:off x="683568" y="2135957"/>
            <a:ext cx="8064896" cy="19411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80000"/>
              </a:lnSpc>
              <a:spcBef>
                <a:spcPct val="20000"/>
              </a:spcBef>
              <a:spcAft>
                <a:spcPct val="30000"/>
              </a:spcAft>
              <a:buFont typeface="Arial" charset="0"/>
              <a:buNone/>
            </a:pPr>
            <a:r>
              <a:rPr lang="pt-BR" dirty="0">
                <a:solidFill>
                  <a:srgbClr val="C00000"/>
                </a:solidFill>
                <a:latin typeface="Gill Sans" pitchFamily="34" charset="0"/>
              </a:rPr>
              <a:t> Consumo e economia serão </a:t>
            </a:r>
            <a:r>
              <a:rPr lang="pt-BR" dirty="0" smtClean="0">
                <a:solidFill>
                  <a:srgbClr val="C00000"/>
                </a:solidFill>
                <a:latin typeface="Gill Sans" pitchFamily="34" charset="0"/>
              </a:rPr>
              <a:t>compartilhados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, a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tendência é que cada vez mais as pessoas busquem serviços e produtos compartilhados. Locais de trabalho e habitação, carros e caronas, pequenos eletrônicos: a economia compartilhada estará presente em todos os aspectos da vida. Isso mudará o modo de consumo, substituindo muitos "compra e venda" por "aluga-se". (Andrew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Schrage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, do Money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Crashers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Personal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Finance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)</a:t>
            </a:r>
          </a:p>
          <a:p>
            <a:pPr>
              <a:lnSpc>
                <a:spcPct val="80000"/>
              </a:lnSpc>
              <a:spcBef>
                <a:spcPct val="20000"/>
              </a:spcBef>
              <a:spcAft>
                <a:spcPct val="30000"/>
              </a:spcAft>
              <a:buFont typeface="Arial" charset="0"/>
              <a:buNone/>
            </a:pPr>
            <a:r>
              <a:rPr lang="pt-BR" dirty="0">
                <a:solidFill>
                  <a:srgbClr val="C00000"/>
                </a:solidFill>
                <a:latin typeface="Gill Sans" pitchFamily="34" charset="0"/>
              </a:rPr>
              <a:t>O consumo de serviços B2B irá </a:t>
            </a:r>
            <a:r>
              <a:rPr lang="pt-BR" dirty="0" smtClean="0">
                <a:solidFill>
                  <a:srgbClr val="C00000"/>
                </a:solidFill>
                <a:latin typeface="Gill Sans" pitchFamily="34" charset="0"/>
              </a:rPr>
              <a:t>aumentar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, grandes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líderes, empresários e empreendedores já trabalham com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apps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e serviço de consumo. Agora, eles irão atrás das tecnologias que permitam o mesmo acesso para os serviços B2B (Business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to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Business, que se refere a um espaço de troca e venda direta entre empresas). (Elliot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Tomaeno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, do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Astrsk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PR)</a:t>
            </a:r>
          </a:p>
        </p:txBody>
      </p:sp>
    </p:spTree>
    <p:extLst>
      <p:ext uri="{BB962C8B-B14F-4D97-AF65-F5344CB8AC3E}">
        <p14:creationId xmlns:p14="http://schemas.microsoft.com/office/powerpoint/2010/main" val="352890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6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66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667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1" y="1844824"/>
            <a:ext cx="9144000" cy="3888432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pic>
        <p:nvPicPr>
          <p:cNvPr id="16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0" y="260648"/>
            <a:ext cx="8077200" cy="1600200"/>
          </a:xfrm>
          <a:prstGeom prst="rect">
            <a:avLst/>
          </a:prstGeom>
          <a:noFill/>
        </p:spPr>
      </p:pic>
      <p:sp>
        <p:nvSpPr>
          <p:cNvPr id="17" name="Rectangle 15"/>
          <p:cNvSpPr>
            <a:spLocks/>
          </p:cNvSpPr>
          <p:nvPr/>
        </p:nvSpPr>
        <p:spPr bwMode="auto">
          <a:xfrm>
            <a:off x="956450" y="692696"/>
            <a:ext cx="6711894" cy="45665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t"/>
          <a:lstStyle/>
          <a:p>
            <a:r>
              <a:rPr lang="en-US" sz="2600" dirty="0">
                <a:solidFill>
                  <a:schemeClr val="bg1"/>
                </a:solidFill>
                <a:latin typeface="Gill Sans Light" pitchFamily="34" charset="0"/>
                <a:sym typeface="Gill Sans Std"/>
              </a:rPr>
              <a:t>TENDÊNCIAS </a:t>
            </a:r>
            <a:r>
              <a:rPr lang="en-US" sz="2600" dirty="0" smtClean="0">
                <a:solidFill>
                  <a:schemeClr val="bg1"/>
                </a:solidFill>
                <a:latin typeface="Gill Sans Light" pitchFamily="34" charset="0"/>
                <a:sym typeface="Gill Sans Std"/>
              </a:rPr>
              <a:t>TECNOLÓGICAS</a:t>
            </a:r>
            <a:endParaRPr lang="en-US" sz="2600" dirty="0">
              <a:solidFill>
                <a:schemeClr val="bg1"/>
              </a:solidFill>
              <a:latin typeface="Gill Sans Light" pitchFamily="34" charset="0"/>
              <a:sym typeface="Gill Sans Std"/>
            </a:endParaRPr>
          </a:p>
          <a:p>
            <a:endParaRPr lang="pt-BR" sz="2600" dirty="0">
              <a:solidFill>
                <a:schemeClr val="bg1"/>
              </a:solidFill>
              <a:latin typeface="Gill Sans Light" pitchFamily="34" charset="0"/>
              <a:sym typeface="Gill Sans Std"/>
            </a:endParaRPr>
          </a:p>
        </p:txBody>
      </p:sp>
      <p:graphicFrame>
        <p:nvGraphicFramePr>
          <p:cNvPr id="18" name="Diagrama 17"/>
          <p:cNvGraphicFramePr/>
          <p:nvPr/>
        </p:nvGraphicFramePr>
        <p:xfrm>
          <a:off x="179512" y="5805264"/>
          <a:ext cx="1391816" cy="1368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56677" name="CaixaDeTexto 2"/>
          <p:cNvSpPr txBox="1">
            <a:spLocks noChangeArrowheads="1"/>
          </p:cNvSpPr>
          <p:nvPr/>
        </p:nvSpPr>
        <p:spPr bwMode="auto">
          <a:xfrm>
            <a:off x="683568" y="2135957"/>
            <a:ext cx="8064896" cy="19411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80000"/>
              </a:lnSpc>
              <a:spcBef>
                <a:spcPct val="20000"/>
              </a:spcBef>
              <a:spcAft>
                <a:spcPct val="30000"/>
              </a:spcAft>
              <a:buFont typeface="Arial" charset="0"/>
              <a:buNone/>
            </a:pPr>
            <a:r>
              <a:rPr lang="pt-BR" dirty="0">
                <a:solidFill>
                  <a:srgbClr val="C00000"/>
                </a:solidFill>
                <a:latin typeface="Gill Sans" pitchFamily="34" charset="0"/>
              </a:rPr>
              <a:t>Sites responsivos serão mais </a:t>
            </a:r>
            <a:r>
              <a:rPr lang="pt-BR" dirty="0" smtClean="0">
                <a:solidFill>
                  <a:srgbClr val="C00000"/>
                </a:solidFill>
                <a:latin typeface="Gill Sans" pitchFamily="34" charset="0"/>
              </a:rPr>
              <a:t>populares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, os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empresários precisarão perceber que a experiência do consumidores no site (seja no desktop, seja no mobile) será cada vez mais importante e irá impactar diretamente na sua percepção ou atitude diante da marca. Assim, sites responsivos e criativos serão essenciais para atrair pessoas, não afastá-las. (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Jayna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Cooke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, do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EVENTup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)</a:t>
            </a:r>
          </a:p>
          <a:p>
            <a:pPr>
              <a:lnSpc>
                <a:spcPct val="80000"/>
              </a:lnSpc>
              <a:spcBef>
                <a:spcPct val="20000"/>
              </a:spcBef>
              <a:spcAft>
                <a:spcPct val="30000"/>
              </a:spcAft>
              <a:buFont typeface="Arial" charset="0"/>
              <a:buNone/>
            </a:pPr>
            <a:r>
              <a:rPr lang="pt-BR" dirty="0">
                <a:solidFill>
                  <a:srgbClr val="C00000"/>
                </a:solidFill>
                <a:latin typeface="Gill Sans" pitchFamily="34" charset="0"/>
              </a:rPr>
              <a:t>O consumo do dia a dia será </a:t>
            </a:r>
            <a:r>
              <a:rPr lang="pt-BR" dirty="0" err="1" smtClean="0">
                <a:solidFill>
                  <a:srgbClr val="C00000"/>
                </a:solidFill>
                <a:latin typeface="Gill Sans" pitchFamily="34" charset="0"/>
              </a:rPr>
              <a:t>digital</a:t>
            </a:r>
            <a:r>
              <a:rPr lang="pt-BR" dirty="0" err="1" smtClean="0">
                <a:solidFill>
                  <a:srgbClr val="666666"/>
                </a:solidFill>
                <a:latin typeface="Gill Sans" pitchFamily="34" charset="0"/>
              </a:rPr>
              <a:t>,com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a popularização dos smartphones, o consumo do dia a dia será digital. Limpar a casa, pedir o almoço, arrumar o carro: tudo será feito no mundo virtual. (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Vishal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Shah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, do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NoPaperForms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).</a:t>
            </a:r>
          </a:p>
          <a:p>
            <a:pPr>
              <a:lnSpc>
                <a:spcPct val="80000"/>
              </a:lnSpc>
              <a:spcBef>
                <a:spcPct val="20000"/>
              </a:spcBef>
              <a:spcAft>
                <a:spcPct val="30000"/>
              </a:spcAft>
              <a:buFont typeface="Arial" charset="0"/>
              <a:buNone/>
            </a:pPr>
            <a:r>
              <a:rPr lang="pt-BR" dirty="0">
                <a:solidFill>
                  <a:srgbClr val="C00000"/>
                </a:solidFill>
                <a:latin typeface="Gill Sans" pitchFamily="34" charset="0"/>
              </a:rPr>
              <a:t>O foco será a </a:t>
            </a:r>
            <a:r>
              <a:rPr lang="pt-BR" dirty="0" smtClean="0">
                <a:solidFill>
                  <a:srgbClr val="C00000"/>
                </a:solidFill>
                <a:latin typeface="Gill Sans" pitchFamily="34" charset="0"/>
              </a:rPr>
              <a:t>privacidade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, os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consumidores estarão cada vez mais preocupados com a privacidade: nos pagamentos, nas transações, nas buscas por produtos e serviços. Poucos querem que as empresas tenham todas as suas informações depois de comprar ou pesquisar por algo. Aumentará a procura por sites,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apps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e outras ferramentas para deixar tudo mais discreto e confidencial. (Nick Reese, do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BroadbandNow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07640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6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66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667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1" y="1844824"/>
            <a:ext cx="9144000" cy="3888432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pic>
        <p:nvPicPr>
          <p:cNvPr id="16" name="Picture 3" descr="N09_Isa1"/>
          <p:cNvPicPr>
            <a:picLocks noChangeAspect="1" noChangeArrowheads="1"/>
          </p:cNvPicPr>
          <p:nvPr/>
        </p:nvPicPr>
        <p:blipFill>
          <a:blip r:embed="rId2"/>
          <a:srcRect t="4167" r="11667" b="72501"/>
          <a:stretch>
            <a:fillRect/>
          </a:stretch>
        </p:blipFill>
        <p:spPr bwMode="auto">
          <a:xfrm>
            <a:off x="0" y="260648"/>
            <a:ext cx="8077200" cy="1600200"/>
          </a:xfrm>
          <a:prstGeom prst="rect">
            <a:avLst/>
          </a:prstGeom>
          <a:noFill/>
        </p:spPr>
      </p:pic>
      <p:sp>
        <p:nvSpPr>
          <p:cNvPr id="17" name="Rectangle 15"/>
          <p:cNvSpPr>
            <a:spLocks/>
          </p:cNvSpPr>
          <p:nvPr/>
        </p:nvSpPr>
        <p:spPr bwMode="auto">
          <a:xfrm>
            <a:off x="956450" y="692696"/>
            <a:ext cx="6711894" cy="45665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t"/>
          <a:lstStyle/>
          <a:p>
            <a:r>
              <a:rPr lang="en-US" sz="2600" dirty="0">
                <a:solidFill>
                  <a:schemeClr val="bg1"/>
                </a:solidFill>
                <a:latin typeface="Gill Sans Light" pitchFamily="34" charset="0"/>
                <a:sym typeface="Gill Sans Std"/>
              </a:rPr>
              <a:t>TENDÊNCIAS </a:t>
            </a:r>
            <a:r>
              <a:rPr lang="en-US" sz="2600" dirty="0" smtClean="0">
                <a:solidFill>
                  <a:schemeClr val="bg1"/>
                </a:solidFill>
                <a:latin typeface="Gill Sans Light" pitchFamily="34" charset="0"/>
                <a:sym typeface="Gill Sans Std"/>
              </a:rPr>
              <a:t>TECNOLÓGICAS</a:t>
            </a:r>
            <a:endParaRPr lang="en-US" sz="2600" dirty="0">
              <a:solidFill>
                <a:schemeClr val="bg1"/>
              </a:solidFill>
              <a:latin typeface="Gill Sans Light" pitchFamily="34" charset="0"/>
              <a:sym typeface="Gill Sans Std"/>
            </a:endParaRPr>
          </a:p>
          <a:p>
            <a:endParaRPr lang="pt-BR" sz="2600" dirty="0">
              <a:solidFill>
                <a:schemeClr val="bg1"/>
              </a:solidFill>
              <a:latin typeface="Gill Sans Light" pitchFamily="34" charset="0"/>
              <a:sym typeface="Gill Sans Std"/>
            </a:endParaRPr>
          </a:p>
        </p:txBody>
      </p:sp>
      <p:graphicFrame>
        <p:nvGraphicFramePr>
          <p:cNvPr id="18" name="Diagrama 17"/>
          <p:cNvGraphicFramePr/>
          <p:nvPr/>
        </p:nvGraphicFramePr>
        <p:xfrm>
          <a:off x="179512" y="5805264"/>
          <a:ext cx="1391816" cy="1368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56677" name="CaixaDeTexto 2"/>
          <p:cNvSpPr txBox="1">
            <a:spLocks noChangeArrowheads="1"/>
          </p:cNvSpPr>
          <p:nvPr/>
        </p:nvSpPr>
        <p:spPr bwMode="auto">
          <a:xfrm>
            <a:off x="683568" y="2135957"/>
            <a:ext cx="8064896" cy="19411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80000"/>
              </a:lnSpc>
              <a:spcBef>
                <a:spcPct val="20000"/>
              </a:spcBef>
              <a:spcAft>
                <a:spcPct val="30000"/>
              </a:spcAft>
              <a:buFont typeface="Arial" charset="0"/>
              <a:buNone/>
            </a:pPr>
            <a:r>
              <a:rPr lang="pt-BR" dirty="0">
                <a:solidFill>
                  <a:srgbClr val="C00000"/>
                </a:solidFill>
                <a:latin typeface="Gill Sans" pitchFamily="34" charset="0"/>
              </a:rPr>
              <a:t>A realidade virtual será uma </a:t>
            </a:r>
            <a:r>
              <a:rPr lang="pt-BR" dirty="0" smtClean="0">
                <a:solidFill>
                  <a:srgbClr val="C00000"/>
                </a:solidFill>
                <a:latin typeface="Gill Sans" pitchFamily="34" charset="0"/>
              </a:rPr>
              <a:t>plataforma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, por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enquanto, há três plataformas para as marcas trabalharem na era da informação: computadores, mobiles e a Internet. Em breve, a realidade virtual entrará nessa lista. Logo, comerciais e anúncios poderão trabalhar com ferramentas que utilizam a realidade virtual, como o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Oculus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Rift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. (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Sathvik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Tantry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, do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FormSwift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)</a:t>
            </a:r>
          </a:p>
          <a:p>
            <a:pPr>
              <a:lnSpc>
                <a:spcPct val="80000"/>
              </a:lnSpc>
              <a:spcBef>
                <a:spcPct val="20000"/>
              </a:spcBef>
              <a:spcAft>
                <a:spcPct val="30000"/>
              </a:spcAft>
            </a:pP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A </a:t>
            </a:r>
            <a:r>
              <a:rPr lang="pt-BR" dirty="0">
                <a:solidFill>
                  <a:srgbClr val="C00000"/>
                </a:solidFill>
                <a:latin typeface="Gill Sans" pitchFamily="34" charset="0"/>
              </a:rPr>
              <a:t>impressão 3D</a:t>
            </a:r>
            <a:r>
              <a:rPr lang="pt-BR" dirty="0">
                <a:solidFill>
                  <a:srgbClr val="FF0000"/>
                </a:solidFill>
                <a:latin typeface="Gill Sans" pitchFamily="34" charset="0"/>
              </a:rPr>
              <a:t>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irá bater recordes de vendas com a redução do custo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. Irá 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surgir o </a:t>
            </a:r>
            <a:r>
              <a:rPr lang="pt-BR" dirty="0">
                <a:solidFill>
                  <a:srgbClr val="C00000"/>
                </a:solidFill>
                <a:latin typeface="Gill Sans" pitchFamily="34" charset="0"/>
              </a:rPr>
              <a:t>integrador social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, um </a:t>
            </a:r>
            <a:r>
              <a:rPr lang="pt-BR" dirty="0" err="1">
                <a:solidFill>
                  <a:srgbClr val="666666"/>
                </a:solidFill>
                <a:latin typeface="Gill Sans" pitchFamily="34" charset="0"/>
              </a:rPr>
              <a:t>app</a:t>
            </a:r>
            <a:r>
              <a:rPr lang="pt-BR" dirty="0">
                <a:solidFill>
                  <a:srgbClr val="666666"/>
                </a:solidFill>
                <a:latin typeface="Gill Sans" pitchFamily="34" charset="0"/>
              </a:rPr>
              <a:t> que irá integrar todas as redes sociais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. (Brian </a:t>
            </a:r>
            <a:r>
              <a:rPr lang="pt-BR" dirty="0" err="1" smtClean="0">
                <a:solidFill>
                  <a:srgbClr val="666666"/>
                </a:solidFill>
                <a:latin typeface="Gill Sans" pitchFamily="34" charset="0"/>
              </a:rPr>
              <a:t>Solis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 – </a:t>
            </a:r>
            <a:r>
              <a:rPr lang="pt-BR" dirty="0" err="1" smtClean="0">
                <a:solidFill>
                  <a:srgbClr val="666666"/>
                </a:solidFill>
                <a:latin typeface="Gill Sans" pitchFamily="34" charset="0"/>
              </a:rPr>
              <a:t>Altimeter</a:t>
            </a:r>
            <a:r>
              <a:rPr lang="pt-BR" dirty="0" smtClean="0">
                <a:solidFill>
                  <a:srgbClr val="666666"/>
                </a:solidFill>
                <a:latin typeface="Gill Sans" pitchFamily="34" charset="0"/>
              </a:rPr>
              <a:t>)</a:t>
            </a:r>
            <a:endParaRPr lang="pt-BR" dirty="0">
              <a:solidFill>
                <a:srgbClr val="666666"/>
              </a:solidFill>
              <a:latin typeface="Gill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6359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6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66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667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gIzbU8UES0XFWsIEEm1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gIzbU8UES0XFWsIEEm1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gIzbU8UES0XFWsIEEm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gIzbU8UES0XFWsIEEm1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gIzbU8UES0XFWsIEEm1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gIzbU8UES0XFWsIEEm1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gIzbU8UES0XFWsIEEm1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gIzbU8UES0XFWsIEEm1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gIzbU8UES0XFWsIEEm1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gIzbU8UES0XFWsIEEm1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gIzbU8UES0XFWsIEEm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gIzbU8UES0XFWsIEEm1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gIzbU8UES0XFWsIEEm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gIzbU8UES0XFWsIEEm1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gIzbU8UES0XFWsIEEm1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gIzbU8UES0XFWsIEEm1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gIzbU8UES0XFWsIEEm1g"/>
</p:tagLst>
</file>

<file path=ppt/theme/theme1.xml><?xml version="1.0" encoding="utf-8"?>
<a:theme xmlns:a="http://schemas.openxmlformats.org/drawingml/2006/main" name="Blank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specto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  <a:effectLst>
          <a:outerShdw blurRad="107950" dist="12700" dir="5400000" algn="ctr">
            <a:srgbClr val="000000"/>
          </a:outerShdw>
        </a:effectLst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003">
          <a:schemeClr val="l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10 September 2009">
  <a:themeElements>
    <a:clrScheme name="10 September 2009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7889FB"/>
      </a:accent1>
      <a:accent2>
        <a:srgbClr val="009999"/>
      </a:accent2>
      <a:accent3>
        <a:srgbClr val="FFFFFF"/>
      </a:accent3>
      <a:accent4>
        <a:srgbClr val="000000"/>
      </a:accent4>
      <a:accent5>
        <a:srgbClr val="BEC4FD"/>
      </a:accent5>
      <a:accent6>
        <a:srgbClr val="008A8A"/>
      </a:accent6>
      <a:hlink>
        <a:srgbClr val="7889FB"/>
      </a:hlink>
      <a:folHlink>
        <a:srgbClr val="9900CC"/>
      </a:folHlink>
    </a:clrScheme>
    <a:fontScheme name="10 September 2009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5875">
          <a:solidFill>
            <a:srgbClr val="612C5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0 September 2009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7889FB"/>
        </a:accent1>
        <a:accent2>
          <a:srgbClr val="009999"/>
        </a:accent2>
        <a:accent3>
          <a:srgbClr val="FFFFFF"/>
        </a:accent3>
        <a:accent4>
          <a:srgbClr val="000000"/>
        </a:accent4>
        <a:accent5>
          <a:srgbClr val="BEC4FD"/>
        </a:accent5>
        <a:accent6>
          <a:srgbClr val="008A8A"/>
        </a:accent6>
        <a:hlink>
          <a:srgbClr val="7889FB"/>
        </a:hlink>
        <a:folHlink>
          <a:srgbClr val="9900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Blank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specto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5_Blank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specto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2786</TotalTime>
  <Words>2005</Words>
  <Application>Microsoft Office PowerPoint</Application>
  <PresentationFormat>Apresentação na tela (4:3)</PresentationFormat>
  <Paragraphs>244</Paragraphs>
  <Slides>27</Slides>
  <Notes>2</Notes>
  <HiddenSlides>0</HiddenSlides>
  <MMClips>0</MMClips>
  <ScaleCrop>false</ScaleCrop>
  <HeadingPairs>
    <vt:vector size="8" baseType="variant">
      <vt:variant>
        <vt:lpstr>Fontes usadas</vt:lpstr>
      </vt:variant>
      <vt:variant>
        <vt:i4>12</vt:i4>
      </vt:variant>
      <vt:variant>
        <vt:lpstr>Tema</vt:lpstr>
      </vt:variant>
      <vt:variant>
        <vt:i4>5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7</vt:i4>
      </vt:variant>
    </vt:vector>
  </HeadingPairs>
  <TitlesOfParts>
    <vt:vector size="45" baseType="lpstr">
      <vt:lpstr>Arial</vt:lpstr>
      <vt:lpstr>Calibri</vt:lpstr>
      <vt:lpstr>Gill Sans</vt:lpstr>
      <vt:lpstr>Gill Sans Light</vt:lpstr>
      <vt:lpstr>Gill Sans MT</vt:lpstr>
      <vt:lpstr>Gill Sans Std</vt:lpstr>
      <vt:lpstr>Gill Sans Ultra Bold</vt:lpstr>
      <vt:lpstr>ＭＳ Ｐゴシック</vt:lpstr>
      <vt:lpstr>ＭＳ Ｐゴシック</vt:lpstr>
      <vt:lpstr>Times New Roman</vt:lpstr>
      <vt:lpstr>Verdana</vt:lpstr>
      <vt:lpstr>Wingdings</vt:lpstr>
      <vt:lpstr>Blank</vt:lpstr>
      <vt:lpstr>1_Tema do Office</vt:lpstr>
      <vt:lpstr>2_10 September 2009</vt:lpstr>
      <vt:lpstr>3_Blank</vt:lpstr>
      <vt:lpstr>5_Blank</vt:lpstr>
      <vt:lpstr>CorelDRAW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Natur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UP2Place</dc:creator>
  <cp:lastModifiedBy>Sidnei Gonçalves - UP2Place IT Transformation</cp:lastModifiedBy>
  <cp:revision>660</cp:revision>
  <dcterms:created xsi:type="dcterms:W3CDTF">2012-08-22T20:29:47Z</dcterms:created>
  <dcterms:modified xsi:type="dcterms:W3CDTF">2015-09-22T02:08:35Z</dcterms:modified>
</cp:coreProperties>
</file>